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handoutMasterIdLst>
    <p:handoutMasterId r:id="rId9"/>
  </p:handoutMasterIdLst>
  <p:sldIdLst>
    <p:sldId id="307" r:id="rId2"/>
    <p:sldId id="259" r:id="rId3"/>
    <p:sldId id="266" r:id="rId4"/>
    <p:sldId id="338" r:id="rId5"/>
    <p:sldId id="264" r:id="rId6"/>
    <p:sldId id="313"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D837D"/>
    <a:srgbClr val="0E0F10"/>
    <a:srgbClr val="FAFAFA"/>
    <a:srgbClr val="3DADA6"/>
    <a:srgbClr val="FFFFFF"/>
    <a:srgbClr val="DB7732"/>
    <a:srgbClr val="40BAB1"/>
    <a:srgbClr val="F96161"/>
    <a:srgbClr val="D486A8"/>
    <a:srgbClr val="71B7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150" autoAdjust="0"/>
    <p:restoredTop sz="94660"/>
  </p:normalViewPr>
  <p:slideViewPr>
    <p:cSldViewPr snapToGrid="0">
      <p:cViewPr varScale="1">
        <p:scale>
          <a:sx n="88" d="100"/>
          <a:sy n="88" d="100"/>
        </p:scale>
        <p:origin x="394" y="67"/>
      </p:cViewPr>
      <p:guideLst/>
    </p:cSldViewPr>
  </p:slideViewPr>
  <p:notesTextViewPr>
    <p:cViewPr>
      <p:scale>
        <a:sx n="1" d="1"/>
        <a:sy n="1" d="1"/>
      </p:scale>
      <p:origin x="0" y="0"/>
    </p:cViewPr>
  </p:notesTextViewPr>
  <p:notesViewPr>
    <p:cSldViewPr snapToGrid="0">
      <p:cViewPr varScale="1">
        <p:scale>
          <a:sx n="65" d="100"/>
          <a:sy n="65" d="100"/>
        </p:scale>
        <p:origin x="2418"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0-6BAC-489A-B489-ADED21DBA7B6}"/>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2-6BAC-489A-B489-ADED21DBA7B6}"/>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4-6BAC-489A-B489-ADED21DBA7B6}"/>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6-6BAC-489A-B489-ADED21DBA7B6}"/>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729E-4ECD-933B-32FAB62EEC5F}"/>
              </c:ext>
            </c:extLst>
          </c:dPt>
          <c:cat>
            <c:strRef>
              <c:f>Sheet1!$A$2:$A$6</c:f>
              <c:strCache>
                <c:ptCount val="5"/>
                <c:pt idx="0">
                  <c:v>Mobile</c:v>
                </c:pt>
                <c:pt idx="1">
                  <c:v>Identity</c:v>
                </c:pt>
                <c:pt idx="2">
                  <c:v>Credit Card</c:v>
                </c:pt>
                <c:pt idx="3">
                  <c:v>Internal</c:v>
                </c:pt>
                <c:pt idx="4">
                  <c:v>Money Laundering</c:v>
                </c:pt>
              </c:strCache>
            </c:strRef>
          </c:cat>
          <c:val>
            <c:numRef>
              <c:f>Sheet1!$B$2:$B$6</c:f>
              <c:numCache>
                <c:formatCode>0%</c:formatCode>
                <c:ptCount val="5"/>
                <c:pt idx="0">
                  <c:v>0.2</c:v>
                </c:pt>
                <c:pt idx="1">
                  <c:v>0.2</c:v>
                </c:pt>
                <c:pt idx="2">
                  <c:v>0.2</c:v>
                </c:pt>
                <c:pt idx="3">
                  <c:v>0.2</c:v>
                </c:pt>
                <c:pt idx="4">
                  <c:v>0.2</c:v>
                </c:pt>
              </c:numCache>
            </c:numRef>
          </c:val>
          <c:extLst>
            <c:ext xmlns:c16="http://schemas.microsoft.com/office/drawing/2014/chart" uri="{C3380CC4-5D6E-409C-BE32-E72D297353CC}">
              <c16:uniqueId val="{00000007-6BAC-489A-B489-ADED21DBA7B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A02B382-58E9-4661-B90E-7AE373EC5EB2}" type="datetimeFigureOut">
              <a:rPr lang="en-US" smtClean="0"/>
              <a:t>6/7/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7AE2F20-F8A6-42F2-8AEA-C94B1638CDC6}" type="slidenum">
              <a:rPr lang="en-US" smtClean="0"/>
              <a:t>‹#›</a:t>
            </a:fld>
            <a:endParaRPr lang="en-US"/>
          </a:p>
        </p:txBody>
      </p:sp>
    </p:spTree>
    <p:extLst>
      <p:ext uri="{BB962C8B-B14F-4D97-AF65-F5344CB8AC3E}">
        <p14:creationId xmlns:p14="http://schemas.microsoft.com/office/powerpoint/2010/main" val="30680247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22B34E-BCDE-47F5-ABD2-A8275EA536FC}" type="datetimeFigureOut">
              <a:rPr lang="en-US" smtClean="0"/>
              <a:t>6/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7C5F46-92E3-4EF5-AC40-9E7C7D306215}" type="slidenum">
              <a:rPr lang="en-US" smtClean="0"/>
              <a:t>‹#›</a:t>
            </a:fld>
            <a:endParaRPr lang="en-US"/>
          </a:p>
        </p:txBody>
      </p:sp>
    </p:spTree>
    <p:extLst>
      <p:ext uri="{BB962C8B-B14F-4D97-AF65-F5344CB8AC3E}">
        <p14:creationId xmlns:p14="http://schemas.microsoft.com/office/powerpoint/2010/main" val="40349186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esentation</a:t>
            </a:r>
            <a:r>
              <a:rPr lang="en-US" baseline="0" dirty="0" smtClean="0"/>
              <a:t> Tree:</a:t>
            </a:r>
            <a:endParaRPr lang="en-US" dirty="0"/>
          </a:p>
        </p:txBody>
      </p:sp>
      <p:sp>
        <p:nvSpPr>
          <p:cNvPr id="4" name="Slide Number Placeholder 3"/>
          <p:cNvSpPr>
            <a:spLocks noGrp="1"/>
          </p:cNvSpPr>
          <p:nvPr>
            <p:ph type="sldNum" sz="quarter" idx="10"/>
          </p:nvPr>
        </p:nvSpPr>
        <p:spPr/>
        <p:txBody>
          <a:bodyPr/>
          <a:lstStyle/>
          <a:p>
            <a:fld id="{6F7C5F46-92E3-4EF5-AC40-9E7C7D306215}" type="slidenum">
              <a:rPr lang="en-US" smtClean="0"/>
              <a:t>1</a:t>
            </a:fld>
            <a:endParaRPr lang="en-US"/>
          </a:p>
        </p:txBody>
      </p:sp>
    </p:spTree>
    <p:extLst>
      <p:ext uri="{BB962C8B-B14F-4D97-AF65-F5344CB8AC3E}">
        <p14:creationId xmlns:p14="http://schemas.microsoft.com/office/powerpoint/2010/main" val="3633354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7C5F46-92E3-4EF5-AC40-9E7C7D306215}" type="slidenum">
              <a:rPr lang="en-US" smtClean="0"/>
              <a:t>3</a:t>
            </a:fld>
            <a:endParaRPr lang="en-US"/>
          </a:p>
        </p:txBody>
      </p:sp>
    </p:spTree>
    <p:extLst>
      <p:ext uri="{BB962C8B-B14F-4D97-AF65-F5344CB8AC3E}">
        <p14:creationId xmlns:p14="http://schemas.microsoft.com/office/powerpoint/2010/main" val="2197829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7C5F46-92E3-4EF5-AC40-9E7C7D306215}" type="slidenum">
              <a:rPr lang="en-US" smtClean="0"/>
              <a:t>4</a:t>
            </a:fld>
            <a:endParaRPr lang="en-US"/>
          </a:p>
        </p:txBody>
      </p:sp>
    </p:spTree>
    <p:extLst>
      <p:ext uri="{BB962C8B-B14F-4D97-AF65-F5344CB8AC3E}">
        <p14:creationId xmlns:p14="http://schemas.microsoft.com/office/powerpoint/2010/main" val="9781106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7C5F46-92E3-4EF5-AC40-9E7C7D306215}" type="slidenum">
              <a:rPr lang="en-US" smtClean="0"/>
              <a:t>5</a:t>
            </a:fld>
            <a:endParaRPr lang="en-US"/>
          </a:p>
        </p:txBody>
      </p:sp>
    </p:spTree>
    <p:extLst>
      <p:ext uri="{BB962C8B-B14F-4D97-AF65-F5344CB8AC3E}">
        <p14:creationId xmlns:p14="http://schemas.microsoft.com/office/powerpoint/2010/main" val="10727499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6" name="Slide Number Placeholder 5"/>
          <p:cNvSpPr>
            <a:spLocks noGrp="1"/>
          </p:cNvSpPr>
          <p:nvPr>
            <p:ph type="sldNum" sz="quarter" idx="12"/>
          </p:nvPr>
        </p:nvSpPr>
        <p:spPr/>
        <p:txBody>
          <a:bodyPr/>
          <a:lstStyle/>
          <a:p>
            <a:fld id="{32ECD629-4DA5-4EAE-B174-69948CAAE2CE}" type="slidenum">
              <a:rPr lang="en-US" smtClean="0"/>
              <a:t>‹#›</a:t>
            </a:fld>
            <a:endParaRPr lang="en-US"/>
          </a:p>
        </p:txBody>
      </p:sp>
    </p:spTree>
    <p:extLst>
      <p:ext uri="{BB962C8B-B14F-4D97-AF65-F5344CB8AC3E}">
        <p14:creationId xmlns:p14="http://schemas.microsoft.com/office/powerpoint/2010/main" val="81975532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1231004" y="2070101"/>
            <a:ext cx="2636100" cy="2312246"/>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342481786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1231004" y="2070101"/>
            <a:ext cx="2636100" cy="2312246"/>
          </a:xfrm>
        </p:spPr>
        <p:txBody>
          <a:bodyPr/>
          <a:lstStyle/>
          <a:p>
            <a:endParaRPr lang="en-US" dirty="0"/>
          </a:p>
        </p:txBody>
      </p:sp>
      <p:sp>
        <p:nvSpPr>
          <p:cNvPr id="9" name="Picture Placeholder 2"/>
          <p:cNvSpPr>
            <a:spLocks noGrp="1"/>
          </p:cNvSpPr>
          <p:nvPr>
            <p:ph type="pic" sz="quarter" idx="14"/>
          </p:nvPr>
        </p:nvSpPr>
        <p:spPr>
          <a:xfrm>
            <a:off x="6084327" y="2070101"/>
            <a:ext cx="2636100" cy="2312246"/>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173971797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995375" y="2247901"/>
            <a:ext cx="1481125" cy="1473199"/>
          </a:xfrm>
          <a:no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solidFill>
                  <a:schemeClr val="lt1"/>
                </a:solidFill>
              </a:defRPr>
            </a:lvl1pPr>
          </a:lstStyle>
          <a:p>
            <a:pPr marL="0" lvl="0" algn="ctr"/>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
        <p:nvSpPr>
          <p:cNvPr id="13" name="Picture Placeholder 2"/>
          <p:cNvSpPr>
            <a:spLocks noGrp="1"/>
          </p:cNvSpPr>
          <p:nvPr>
            <p:ph type="pic" sz="quarter" idx="15"/>
          </p:nvPr>
        </p:nvSpPr>
        <p:spPr>
          <a:xfrm>
            <a:off x="6456374" y="2247901"/>
            <a:ext cx="1481125" cy="1473199"/>
          </a:xfrm>
          <a:no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solidFill>
                  <a:schemeClr val="lt1"/>
                </a:solidFill>
              </a:defRPr>
            </a:lvl1pPr>
          </a:lstStyle>
          <a:p>
            <a:pPr marL="0" lvl="0" algn="ctr"/>
            <a:endParaRPr lang="en-US" dirty="0"/>
          </a:p>
        </p:txBody>
      </p:sp>
      <p:sp>
        <p:nvSpPr>
          <p:cNvPr id="20" name="Picture Placeholder 2"/>
          <p:cNvSpPr>
            <a:spLocks noGrp="1"/>
          </p:cNvSpPr>
          <p:nvPr>
            <p:ph type="pic" sz="quarter" idx="16"/>
          </p:nvPr>
        </p:nvSpPr>
        <p:spPr>
          <a:xfrm>
            <a:off x="6456374" y="4457701"/>
            <a:ext cx="1481125" cy="1473199"/>
          </a:xfrm>
          <a:no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solidFill>
                  <a:schemeClr val="lt1"/>
                </a:solidFill>
              </a:defRPr>
            </a:lvl1pPr>
          </a:lstStyle>
          <a:p>
            <a:pPr marL="0" lvl="0" algn="ctr"/>
            <a:endParaRPr lang="en-US" dirty="0"/>
          </a:p>
        </p:txBody>
      </p:sp>
      <p:sp>
        <p:nvSpPr>
          <p:cNvPr id="21" name="Picture Placeholder 2"/>
          <p:cNvSpPr>
            <a:spLocks noGrp="1"/>
          </p:cNvSpPr>
          <p:nvPr>
            <p:ph type="pic" sz="quarter" idx="17"/>
          </p:nvPr>
        </p:nvSpPr>
        <p:spPr>
          <a:xfrm>
            <a:off x="995374" y="4457701"/>
            <a:ext cx="1481125" cy="1473199"/>
          </a:xfrm>
          <a:no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solidFill>
                  <a:schemeClr val="lt1"/>
                </a:solidFill>
              </a:defRPr>
            </a:lvl1pPr>
          </a:lstStyle>
          <a:p>
            <a:pPr marL="0" lvl="0" algn="ctr"/>
            <a:endParaRPr lang="en-US" dirty="0"/>
          </a:p>
        </p:txBody>
      </p:sp>
    </p:spTree>
    <p:extLst>
      <p:ext uri="{BB962C8B-B14F-4D97-AF65-F5344CB8AC3E}">
        <p14:creationId xmlns:p14="http://schemas.microsoft.com/office/powerpoint/2010/main" val="105213884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1011851" y="2096236"/>
            <a:ext cx="3546887" cy="2091620"/>
          </a:xfrm>
        </p:spPr>
        <p:txBody>
          <a:bodyPr/>
          <a:lstStyle/>
          <a:p>
            <a:endParaRPr lang="en-US" dirty="0"/>
          </a:p>
        </p:txBody>
      </p:sp>
      <p:sp>
        <p:nvSpPr>
          <p:cNvPr id="9" name="Picture Placeholder 2"/>
          <p:cNvSpPr>
            <a:spLocks noGrp="1"/>
          </p:cNvSpPr>
          <p:nvPr>
            <p:ph type="pic" sz="quarter" idx="14"/>
          </p:nvPr>
        </p:nvSpPr>
        <p:spPr>
          <a:xfrm>
            <a:off x="3004682" y="3457767"/>
            <a:ext cx="2368583" cy="1518362"/>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132855789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9" name="Picture Placeholder 2"/>
          <p:cNvSpPr>
            <a:spLocks noGrp="1"/>
          </p:cNvSpPr>
          <p:nvPr>
            <p:ph type="pic" sz="quarter" idx="14"/>
          </p:nvPr>
        </p:nvSpPr>
        <p:spPr>
          <a:xfrm>
            <a:off x="1250163" y="2331014"/>
            <a:ext cx="2129319" cy="1364985"/>
          </a:xfrm>
        </p:spPr>
        <p:txBody>
          <a:bodyPr/>
          <a:lstStyle/>
          <a:p>
            <a:endParaRPr lang="en-US" dirty="0"/>
          </a:p>
        </p:txBody>
      </p:sp>
      <p:sp>
        <p:nvSpPr>
          <p:cNvPr id="13" name="Picture Placeholder 2"/>
          <p:cNvSpPr>
            <a:spLocks noGrp="1"/>
          </p:cNvSpPr>
          <p:nvPr>
            <p:ph type="pic" sz="quarter" idx="16"/>
          </p:nvPr>
        </p:nvSpPr>
        <p:spPr>
          <a:xfrm>
            <a:off x="8812517" y="2331014"/>
            <a:ext cx="2129319" cy="1364985"/>
          </a:xfrm>
        </p:spPr>
        <p:txBody>
          <a:bodyPr/>
          <a:lstStyle/>
          <a:p>
            <a:endParaRPr lang="en-US" dirty="0"/>
          </a:p>
        </p:txBody>
      </p:sp>
      <p:sp>
        <p:nvSpPr>
          <p:cNvPr id="12" name="Picture Placeholder 2"/>
          <p:cNvSpPr>
            <a:spLocks noGrp="1"/>
          </p:cNvSpPr>
          <p:nvPr>
            <p:ph type="pic" sz="quarter" idx="15"/>
          </p:nvPr>
        </p:nvSpPr>
        <p:spPr>
          <a:xfrm>
            <a:off x="5031340" y="2331014"/>
            <a:ext cx="2129319" cy="1364985"/>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277195973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13" name="Picture Placeholder 2"/>
          <p:cNvSpPr>
            <a:spLocks noGrp="1"/>
          </p:cNvSpPr>
          <p:nvPr>
            <p:ph type="pic" sz="quarter" idx="16"/>
          </p:nvPr>
        </p:nvSpPr>
        <p:spPr>
          <a:xfrm>
            <a:off x="7000143" y="1484590"/>
            <a:ext cx="5313584" cy="3406234"/>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17703964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13" name="Picture Placeholder 2"/>
          <p:cNvSpPr>
            <a:spLocks noGrp="1"/>
          </p:cNvSpPr>
          <p:nvPr>
            <p:ph type="pic" sz="quarter" idx="16"/>
          </p:nvPr>
        </p:nvSpPr>
        <p:spPr>
          <a:xfrm>
            <a:off x="8594151" y="1484590"/>
            <a:ext cx="2005299" cy="3570150"/>
          </a:xfrm>
        </p:spPr>
        <p:txBody>
          <a:bodyPr/>
          <a:lstStyle/>
          <a:p>
            <a:endParaRPr lang="en-US" dirty="0"/>
          </a:p>
        </p:txBody>
      </p:sp>
      <p:sp>
        <p:nvSpPr>
          <p:cNvPr id="8" name="Picture Placeholder 2"/>
          <p:cNvSpPr>
            <a:spLocks noGrp="1"/>
          </p:cNvSpPr>
          <p:nvPr>
            <p:ph type="pic" sz="quarter" idx="17"/>
          </p:nvPr>
        </p:nvSpPr>
        <p:spPr>
          <a:xfrm>
            <a:off x="7224650" y="2791887"/>
            <a:ext cx="1455664" cy="2599401"/>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336579027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13" name="Picture Placeholder 2"/>
          <p:cNvSpPr>
            <a:spLocks noGrp="1"/>
          </p:cNvSpPr>
          <p:nvPr>
            <p:ph type="pic" sz="quarter" idx="16"/>
          </p:nvPr>
        </p:nvSpPr>
        <p:spPr>
          <a:xfrm>
            <a:off x="7010400" y="1714500"/>
            <a:ext cx="3898900" cy="6832600"/>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385298021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7620000" y="0"/>
            <a:ext cx="4572001" cy="6858000"/>
          </a:xfrm>
        </p:spPr>
        <p:txBody>
          <a:bodyPr/>
          <a:lstStyle/>
          <a:p>
            <a:endParaRPr lang="en-US" dirty="0"/>
          </a:p>
        </p:txBody>
      </p:sp>
      <p:sp>
        <p:nvSpPr>
          <p:cNvPr id="10" name="Picture Placeholder 2"/>
          <p:cNvSpPr>
            <a:spLocks noGrp="1"/>
          </p:cNvSpPr>
          <p:nvPr>
            <p:ph type="pic" sz="quarter" idx="14"/>
          </p:nvPr>
        </p:nvSpPr>
        <p:spPr>
          <a:xfrm>
            <a:off x="6725898" y="1709954"/>
            <a:ext cx="1425676" cy="1473199"/>
          </a:xfrm>
          <a:solidFill>
            <a:schemeClr val="bg1">
              <a:lumMod val="85000"/>
            </a:schemeClr>
          </a:solid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800" dirty="0">
                <a:solidFill>
                  <a:schemeClr val="lt1"/>
                </a:solidFill>
              </a:defRPr>
            </a:lvl1pPr>
          </a:lstStyle>
          <a:p>
            <a:pPr marL="0" lvl="0" algn="ctr"/>
            <a:endParaRPr lang="en-US" dirty="0"/>
          </a:p>
        </p:txBody>
      </p:sp>
      <p:sp>
        <p:nvSpPr>
          <p:cNvPr id="2" name="Title 1"/>
          <p:cNvSpPr>
            <a:spLocks noGrp="1"/>
          </p:cNvSpPr>
          <p:nvPr>
            <p:ph type="title"/>
          </p:nvPr>
        </p:nvSpPr>
        <p:spPr>
          <a:xfrm>
            <a:off x="838200" y="365125"/>
            <a:ext cx="5887698" cy="1637846"/>
          </a:xfrm>
        </p:spPr>
        <p:txBody>
          <a:bodyPr wrap="square" anchor="ctr">
            <a:noAutofit/>
          </a:bodyPr>
          <a:lstStyle>
            <a:lvl1pPr>
              <a:defRPr lang="en-US" sz="66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3" name="Content Placeholder 2"/>
          <p:cNvSpPr>
            <a:spLocks noGrp="1"/>
          </p:cNvSpPr>
          <p:nvPr>
            <p:ph idx="1"/>
          </p:nvPr>
        </p:nvSpPr>
        <p:spPr>
          <a:xfrm>
            <a:off x="838200" y="2002971"/>
            <a:ext cx="5887698" cy="4368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329952679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7693153" y="0"/>
            <a:ext cx="4498848" cy="6858000"/>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3" name="Content Placeholder 2"/>
          <p:cNvSpPr>
            <a:spLocks noGrp="1"/>
          </p:cNvSpPr>
          <p:nvPr>
            <p:ph idx="1"/>
          </p:nvPr>
        </p:nvSpPr>
        <p:spPr>
          <a:xfrm>
            <a:off x="838200" y="2002971"/>
            <a:ext cx="6593114" cy="4368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404042288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283421346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7866743" y="0"/>
            <a:ext cx="4325258" cy="6858000"/>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3" name="Content Placeholder 2"/>
          <p:cNvSpPr>
            <a:spLocks noGrp="1"/>
          </p:cNvSpPr>
          <p:nvPr>
            <p:ph idx="1"/>
          </p:nvPr>
        </p:nvSpPr>
        <p:spPr>
          <a:xfrm>
            <a:off x="838200" y="2002971"/>
            <a:ext cx="6593114" cy="4368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358424263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3375080" y="0"/>
            <a:ext cx="5654620" cy="6858000"/>
          </a:xfrm>
          <a:prstGeom prst="parallelogram">
            <a:avLst>
              <a:gd name="adj" fmla="val 24775"/>
            </a:avLst>
          </a:prstGeom>
          <a:solidFill>
            <a:schemeClr val="bg1">
              <a:lumMod val="85000"/>
            </a:schemeClr>
          </a:solidFill>
          <a:ln>
            <a:noFill/>
          </a:ln>
        </p:spPr>
        <p:txBody>
          <a:bodyPr/>
          <a:lstStyle/>
          <a:p>
            <a:endParaRPr lang="en-US" dirty="0"/>
          </a:p>
        </p:txBody>
      </p:sp>
      <p:sp>
        <p:nvSpPr>
          <p:cNvPr id="2" name="Title 1"/>
          <p:cNvSpPr>
            <a:spLocks noGrp="1"/>
          </p:cNvSpPr>
          <p:nvPr>
            <p:ph type="title"/>
          </p:nvPr>
        </p:nvSpPr>
        <p:spPr>
          <a:xfrm>
            <a:off x="838200" y="365125"/>
            <a:ext cx="3370943" cy="2697389"/>
          </a:xfrm>
        </p:spPr>
        <p:txBody>
          <a:bodyPr wrap="square" anchor="ctr">
            <a:noAutofit/>
          </a:bodyPr>
          <a:lstStyle>
            <a:lvl1pPr>
              <a:defRPr lang="en-US" sz="60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215638471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8" name="Picture Placeholder 2"/>
          <p:cNvSpPr>
            <a:spLocks noGrp="1"/>
          </p:cNvSpPr>
          <p:nvPr>
            <p:ph type="pic" sz="quarter" idx="13"/>
          </p:nvPr>
        </p:nvSpPr>
        <p:spPr>
          <a:xfrm>
            <a:off x="4272845" y="0"/>
            <a:ext cx="3646311" cy="6858000"/>
          </a:xfrm>
        </p:spPr>
        <p:txBody>
          <a:bodyPr/>
          <a:lstStyle/>
          <a:p>
            <a:endParaRPr lang="en-US" dirty="0"/>
          </a:p>
        </p:txBody>
      </p:sp>
      <p:sp>
        <p:nvSpPr>
          <p:cNvPr id="2" name="Title 1"/>
          <p:cNvSpPr>
            <a:spLocks noGrp="1"/>
          </p:cNvSpPr>
          <p:nvPr>
            <p:ph type="title"/>
          </p:nvPr>
        </p:nvSpPr>
        <p:spPr>
          <a:xfrm>
            <a:off x="838200" y="365125"/>
            <a:ext cx="3370943" cy="2697389"/>
          </a:xfrm>
        </p:spPr>
        <p:txBody>
          <a:bodyPr wrap="square" anchor="ctr">
            <a:noAutofit/>
          </a:bodyPr>
          <a:lstStyle>
            <a:lvl1pPr>
              <a:defRPr lang="en-US" sz="60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151429011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899293" y="2210647"/>
            <a:ext cx="10632308" cy="2234354"/>
          </a:xfrm>
        </p:spPr>
        <p:txBody>
          <a:bodyPr/>
          <a:lstStyle>
            <a:lvl1pPr>
              <a:defRPr>
                <a:solidFill>
                  <a:schemeClr val="bg1"/>
                </a:solidFill>
              </a:defRPr>
            </a:lvl1p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3" name="Content Placeholder 2"/>
          <p:cNvSpPr>
            <a:spLocks noGrp="1"/>
          </p:cNvSpPr>
          <p:nvPr>
            <p:ph idx="1"/>
          </p:nvPr>
        </p:nvSpPr>
        <p:spPr>
          <a:xfrm>
            <a:off x="838199" y="4673599"/>
            <a:ext cx="10693401" cy="1503363"/>
          </a:xfrm>
        </p:spPr>
        <p:txBody>
          <a:bodyPr>
            <a:no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a:solidFill>
                  <a:schemeClr val="bg1"/>
                </a:solidFill>
              </a:defRPr>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235955487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4749799" y="2108200"/>
            <a:ext cx="3289301" cy="4254500"/>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3" name="Content Placeholder 2"/>
          <p:cNvSpPr>
            <a:spLocks noGrp="1"/>
          </p:cNvSpPr>
          <p:nvPr>
            <p:ph idx="1"/>
          </p:nvPr>
        </p:nvSpPr>
        <p:spPr>
          <a:xfrm>
            <a:off x="838200" y="2108200"/>
            <a:ext cx="3661230" cy="4254499"/>
          </a:xfrm>
        </p:spPr>
        <p:txBody>
          <a:bodyPr>
            <a:noAutofit/>
          </a:bodyPr>
          <a:lstStyle>
            <a:lvl1pPr>
              <a:defRPr sz="2000"/>
            </a:lvl1pPr>
            <a:lvl2pPr>
              <a:defRPr sz="18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
        <p:nvSpPr>
          <p:cNvPr id="9" name="Content Placeholder 2"/>
          <p:cNvSpPr>
            <a:spLocks noGrp="1"/>
          </p:cNvSpPr>
          <p:nvPr>
            <p:ph idx="14"/>
          </p:nvPr>
        </p:nvSpPr>
        <p:spPr>
          <a:xfrm>
            <a:off x="8289469" y="2108200"/>
            <a:ext cx="3661230" cy="4254499"/>
          </a:xfrm>
        </p:spPr>
        <p:txBody>
          <a:bodyPr>
            <a:noAutofit/>
          </a:bodyPr>
          <a:lstStyle>
            <a:lvl1pPr>
              <a:defRPr sz="2000"/>
            </a:lvl1pPr>
            <a:lvl2pPr>
              <a:defRPr sz="18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0637179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0" y="0"/>
            <a:ext cx="3541487" cy="6858000"/>
          </a:xfrm>
        </p:spPr>
        <p:txBody>
          <a:bodyPr/>
          <a:lstStyle/>
          <a:p>
            <a:endParaRPr lang="en-US" dirty="0"/>
          </a:p>
        </p:txBody>
      </p:sp>
      <p:sp>
        <p:nvSpPr>
          <p:cNvPr id="9" name="Rectangle 8"/>
          <p:cNvSpPr/>
          <p:nvPr userDrawn="1"/>
        </p:nvSpPr>
        <p:spPr>
          <a:xfrm>
            <a:off x="3541487" y="0"/>
            <a:ext cx="32657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311571" y="1939925"/>
            <a:ext cx="4042228" cy="2312193"/>
          </a:xfrm>
        </p:spPr>
        <p:txBody>
          <a:bodyPr wrap="square" anchor="ctr">
            <a:noAutofit/>
          </a:bodyPr>
          <a:lstStyle>
            <a:lvl1pPr>
              <a:defRPr lang="en-US" sz="66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3" name="Content Placeholder 2"/>
          <p:cNvSpPr>
            <a:spLocks noGrp="1"/>
          </p:cNvSpPr>
          <p:nvPr>
            <p:ph idx="1"/>
          </p:nvPr>
        </p:nvSpPr>
        <p:spPr>
          <a:xfrm>
            <a:off x="7311572" y="4252118"/>
            <a:ext cx="4042228" cy="1983172"/>
          </a:xfrm>
        </p:spPr>
        <p:txBody>
          <a:bodyPr>
            <a:noAutofit/>
          </a:bodyPr>
          <a:lstStyle>
            <a:lvl1pPr>
              <a:defRPr sz="2000"/>
            </a:lvl1pPr>
            <a:lvl2pPr>
              <a:defRPr sz="18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
        <p:nvSpPr>
          <p:cNvPr id="10" name="Content Placeholder 2"/>
          <p:cNvSpPr>
            <a:spLocks noGrp="1"/>
          </p:cNvSpPr>
          <p:nvPr>
            <p:ph idx="14"/>
          </p:nvPr>
        </p:nvSpPr>
        <p:spPr>
          <a:xfrm>
            <a:off x="4045857" y="523416"/>
            <a:ext cx="2659743" cy="1615282"/>
          </a:xfrm>
        </p:spPr>
        <p:txBody>
          <a:bodyPr>
            <a:noAutofit/>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50">
                <a:solidFill>
                  <a:schemeClr val="bg1"/>
                </a:solidFill>
              </a:defRPr>
            </a:lvl4pPr>
            <a:lvl5pPr>
              <a:defRPr sz="105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a:t>
            </a:r>
            <a:endParaRPr lang="en-US" dirty="0"/>
          </a:p>
        </p:txBody>
      </p:sp>
      <p:sp>
        <p:nvSpPr>
          <p:cNvPr id="11" name="Content Placeholder 2"/>
          <p:cNvSpPr>
            <a:spLocks noGrp="1"/>
          </p:cNvSpPr>
          <p:nvPr>
            <p:ph idx="15"/>
          </p:nvPr>
        </p:nvSpPr>
        <p:spPr>
          <a:xfrm>
            <a:off x="4045857" y="2581411"/>
            <a:ext cx="2659743" cy="1615282"/>
          </a:xfrm>
        </p:spPr>
        <p:txBody>
          <a:bodyPr>
            <a:noAutofit/>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50">
                <a:solidFill>
                  <a:schemeClr val="bg1"/>
                </a:solidFill>
              </a:defRPr>
            </a:lvl4pPr>
            <a:lvl5pPr>
              <a:defRPr sz="105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a:t>
            </a:r>
            <a:endParaRPr lang="en-US" dirty="0"/>
          </a:p>
        </p:txBody>
      </p:sp>
      <p:sp>
        <p:nvSpPr>
          <p:cNvPr id="12" name="Content Placeholder 2"/>
          <p:cNvSpPr>
            <a:spLocks noGrp="1"/>
          </p:cNvSpPr>
          <p:nvPr>
            <p:ph idx="16"/>
          </p:nvPr>
        </p:nvSpPr>
        <p:spPr>
          <a:xfrm>
            <a:off x="4045857" y="4639407"/>
            <a:ext cx="2659743" cy="1615282"/>
          </a:xfrm>
        </p:spPr>
        <p:txBody>
          <a:bodyPr>
            <a:noAutofit/>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50">
                <a:solidFill>
                  <a:schemeClr val="bg1"/>
                </a:solidFill>
              </a:defRPr>
            </a:lvl4pPr>
            <a:lvl5pPr>
              <a:defRPr sz="105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a:t>
            </a:r>
            <a:endParaRPr lang="en-US" dirty="0"/>
          </a:p>
        </p:txBody>
      </p:sp>
    </p:spTree>
    <p:extLst>
      <p:ext uri="{BB962C8B-B14F-4D97-AF65-F5344CB8AC3E}">
        <p14:creationId xmlns:p14="http://schemas.microsoft.com/office/powerpoint/2010/main" val="47912790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0" y="2247900"/>
            <a:ext cx="3541487" cy="4610100"/>
          </a:xfrm>
        </p:spPr>
        <p:txBody>
          <a:bodyPr/>
          <a:lstStyle/>
          <a:p>
            <a:endParaRPr lang="en-US" dirty="0"/>
          </a:p>
        </p:txBody>
      </p:sp>
      <p:sp>
        <p:nvSpPr>
          <p:cNvPr id="9" name="Rectangle 8"/>
          <p:cNvSpPr/>
          <p:nvPr userDrawn="1"/>
        </p:nvSpPr>
        <p:spPr>
          <a:xfrm>
            <a:off x="0" y="0"/>
            <a:ext cx="12192000" cy="224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24513" y="2562635"/>
            <a:ext cx="7884885" cy="1806165"/>
          </a:xfrm>
        </p:spPr>
        <p:txBody>
          <a:bodyPr wrap="square" anchor="ctr">
            <a:noAutofit/>
          </a:bodyPr>
          <a:lstStyle>
            <a:lvl1pPr>
              <a:defRPr lang="en-US" sz="66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3" name="Content Placeholder 2"/>
          <p:cNvSpPr>
            <a:spLocks noGrp="1"/>
          </p:cNvSpPr>
          <p:nvPr>
            <p:ph idx="1"/>
          </p:nvPr>
        </p:nvSpPr>
        <p:spPr>
          <a:xfrm>
            <a:off x="3824514" y="4368800"/>
            <a:ext cx="7884885" cy="1983172"/>
          </a:xfrm>
        </p:spPr>
        <p:txBody>
          <a:bodyPr>
            <a:noAutofit/>
          </a:bodyPr>
          <a:lstStyle>
            <a:lvl1pPr>
              <a:defRPr sz="2000"/>
            </a:lvl1pPr>
            <a:lvl2pPr>
              <a:defRPr sz="18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
        <p:nvSpPr>
          <p:cNvPr id="10" name="Content Placeholder 2"/>
          <p:cNvSpPr>
            <a:spLocks noGrp="1"/>
          </p:cNvSpPr>
          <p:nvPr>
            <p:ph idx="14"/>
          </p:nvPr>
        </p:nvSpPr>
        <p:spPr>
          <a:xfrm>
            <a:off x="812737" y="366472"/>
            <a:ext cx="2659743" cy="1615282"/>
          </a:xfrm>
        </p:spPr>
        <p:txBody>
          <a:bodyPr>
            <a:noAutofit/>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50">
                <a:solidFill>
                  <a:schemeClr val="bg1"/>
                </a:solidFill>
              </a:defRPr>
            </a:lvl4pPr>
            <a:lvl5pPr>
              <a:defRPr sz="105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a:t>
            </a:r>
            <a:endParaRPr lang="en-US" dirty="0"/>
          </a:p>
        </p:txBody>
      </p:sp>
      <p:sp>
        <p:nvSpPr>
          <p:cNvPr id="15" name="Content Placeholder 2"/>
          <p:cNvSpPr>
            <a:spLocks noGrp="1"/>
          </p:cNvSpPr>
          <p:nvPr>
            <p:ph idx="15"/>
          </p:nvPr>
        </p:nvSpPr>
        <p:spPr>
          <a:xfrm>
            <a:off x="4717112" y="366472"/>
            <a:ext cx="2659743" cy="1615282"/>
          </a:xfrm>
        </p:spPr>
        <p:txBody>
          <a:bodyPr>
            <a:noAutofit/>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50">
                <a:solidFill>
                  <a:schemeClr val="bg1"/>
                </a:solidFill>
              </a:defRPr>
            </a:lvl4pPr>
            <a:lvl5pPr>
              <a:defRPr sz="105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a:t>
            </a:r>
            <a:endParaRPr lang="en-US" dirty="0"/>
          </a:p>
        </p:txBody>
      </p:sp>
      <p:sp>
        <p:nvSpPr>
          <p:cNvPr id="16" name="Content Placeholder 2"/>
          <p:cNvSpPr>
            <a:spLocks noGrp="1"/>
          </p:cNvSpPr>
          <p:nvPr>
            <p:ph idx="16"/>
          </p:nvPr>
        </p:nvSpPr>
        <p:spPr>
          <a:xfrm>
            <a:off x="8621486" y="366472"/>
            <a:ext cx="2659743" cy="1615282"/>
          </a:xfrm>
        </p:spPr>
        <p:txBody>
          <a:bodyPr>
            <a:noAutofit/>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50">
                <a:solidFill>
                  <a:schemeClr val="bg1"/>
                </a:solidFill>
              </a:defRPr>
            </a:lvl4pPr>
            <a:lvl5pPr>
              <a:defRPr sz="105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a:t>
            </a:r>
            <a:endParaRPr lang="en-US" dirty="0"/>
          </a:p>
        </p:txBody>
      </p:sp>
    </p:spTree>
    <p:extLst>
      <p:ext uri="{BB962C8B-B14F-4D97-AF65-F5344CB8AC3E}">
        <p14:creationId xmlns:p14="http://schemas.microsoft.com/office/powerpoint/2010/main" val="244088988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4702628" y="0"/>
            <a:ext cx="7489372" cy="6858000"/>
          </a:xfrm>
        </p:spPr>
        <p:txBody>
          <a:bodyPr/>
          <a:lstStyle/>
          <a:p>
            <a:endParaRPr lang="en-US" dirty="0"/>
          </a:p>
        </p:txBody>
      </p:sp>
      <p:sp>
        <p:nvSpPr>
          <p:cNvPr id="2" name="Title 1"/>
          <p:cNvSpPr>
            <a:spLocks noGrp="1"/>
          </p:cNvSpPr>
          <p:nvPr>
            <p:ph type="title"/>
          </p:nvPr>
        </p:nvSpPr>
        <p:spPr>
          <a:xfrm>
            <a:off x="806383" y="1395640"/>
            <a:ext cx="3719286" cy="2552246"/>
          </a:xfrm>
        </p:spPr>
        <p:txBody>
          <a:bodyPr wrap="square" anchor="ctr">
            <a:noAutofit/>
          </a:bodyPr>
          <a:lstStyle>
            <a:lvl1pPr algn="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305989969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0" y="0"/>
            <a:ext cx="12192000" cy="3784600"/>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122619573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0" y="0"/>
            <a:ext cx="12192000" cy="4511040"/>
          </a:xfrm>
        </p:spPr>
        <p:txBody>
          <a:bodyPr/>
          <a:lstStyle/>
          <a:p>
            <a:endParaRPr lang="en-US" dirty="0"/>
          </a:p>
        </p:txBody>
      </p:sp>
      <p:sp>
        <p:nvSpPr>
          <p:cNvPr id="2" name="Title 1"/>
          <p:cNvSpPr>
            <a:spLocks noGrp="1"/>
          </p:cNvSpPr>
          <p:nvPr>
            <p:ph type="title"/>
          </p:nvPr>
        </p:nvSpPr>
        <p:spPr>
          <a:xfrm>
            <a:off x="838200" y="365125"/>
            <a:ext cx="4198257" cy="3553732"/>
          </a:xfrm>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178919664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3136900" cy="4473575"/>
          </a:xfrm>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3" name="Content Placeholder 2"/>
          <p:cNvSpPr>
            <a:spLocks noGrp="1"/>
          </p:cNvSpPr>
          <p:nvPr>
            <p:ph idx="1"/>
          </p:nvPr>
        </p:nvSpPr>
        <p:spPr>
          <a:xfrm>
            <a:off x="4305300" y="365124"/>
            <a:ext cx="7505700" cy="55657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15202342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5028848" y="3050551"/>
            <a:ext cx="2184752" cy="2184752"/>
          </a:xfrm>
          <a:prstGeom prst="ellipse">
            <a:avLst/>
          </a:prstGeom>
          <a:solidFill>
            <a:schemeClr val="bg1">
              <a:lumMod val="85000"/>
            </a:schemeClr>
          </a:solidFill>
        </p:spPr>
        <p:txBody>
          <a:bodyPr>
            <a:normAutofit/>
          </a:bodyPr>
          <a:lstStyle>
            <a:lvl1pPr>
              <a:defRPr sz="1600" b="0"/>
            </a:lvl1pPr>
          </a:lstStyle>
          <a:p>
            <a:endParaRPr lang="en-US"/>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4272810622"/>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7" name="Picture Placeholder 6"/>
          <p:cNvSpPr>
            <a:spLocks noGrp="1"/>
          </p:cNvSpPr>
          <p:nvPr>
            <p:ph type="pic" sz="quarter" idx="13"/>
          </p:nvPr>
        </p:nvSpPr>
        <p:spPr>
          <a:xfrm>
            <a:off x="4949372" y="0"/>
            <a:ext cx="7242628" cy="6858000"/>
          </a:xfrm>
          <a:custGeom>
            <a:avLst/>
            <a:gdLst>
              <a:gd name="connsiteX0" fmla="*/ 0 w 7242628"/>
              <a:gd name="connsiteY0" fmla="*/ 0 h 6858000"/>
              <a:gd name="connsiteX1" fmla="*/ 7242628 w 7242628"/>
              <a:gd name="connsiteY1" fmla="*/ 0 h 6858000"/>
              <a:gd name="connsiteX2" fmla="*/ 7242628 w 7242628"/>
              <a:gd name="connsiteY2" fmla="*/ 6858000 h 6858000"/>
              <a:gd name="connsiteX3" fmla="*/ 0 w 7242628"/>
              <a:gd name="connsiteY3" fmla="*/ 6858000 h 6858000"/>
              <a:gd name="connsiteX4" fmla="*/ 0 w 7242628"/>
              <a:gd name="connsiteY4" fmla="*/ 0 h 6858000"/>
              <a:gd name="connsiteX0" fmla="*/ 3062514 w 7242628"/>
              <a:gd name="connsiteY0" fmla="*/ 14515 h 6858000"/>
              <a:gd name="connsiteX1" fmla="*/ 7242628 w 7242628"/>
              <a:gd name="connsiteY1" fmla="*/ 0 h 6858000"/>
              <a:gd name="connsiteX2" fmla="*/ 7242628 w 7242628"/>
              <a:gd name="connsiteY2" fmla="*/ 6858000 h 6858000"/>
              <a:gd name="connsiteX3" fmla="*/ 0 w 7242628"/>
              <a:gd name="connsiteY3" fmla="*/ 6858000 h 6858000"/>
              <a:gd name="connsiteX4" fmla="*/ 3062514 w 7242628"/>
              <a:gd name="connsiteY4" fmla="*/ 14515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42628" h="6858000">
                <a:moveTo>
                  <a:pt x="3062514" y="14515"/>
                </a:moveTo>
                <a:lnTo>
                  <a:pt x="7242628" y="0"/>
                </a:lnTo>
                <a:lnTo>
                  <a:pt x="7242628" y="6858000"/>
                </a:lnTo>
                <a:lnTo>
                  <a:pt x="0" y="6858000"/>
                </a:lnTo>
                <a:lnTo>
                  <a:pt x="3062514" y="14515"/>
                </a:lnTo>
                <a:close/>
              </a:path>
            </a:pathLst>
          </a:custGeom>
          <a:solidFill>
            <a:schemeClr val="bg1">
              <a:lumMod val="85000"/>
            </a:schemeClr>
          </a:solidFill>
          <a:ln>
            <a:noFill/>
          </a:ln>
        </p:spPr>
        <p:txBody>
          <a:bodyPr/>
          <a:lstStyle/>
          <a:p>
            <a:endParaRPr lang="en-US"/>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252060564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Picture Placeholder 2"/>
          <p:cNvSpPr>
            <a:spLocks noGrp="1"/>
          </p:cNvSpPr>
          <p:nvPr>
            <p:ph type="pic" sz="quarter" idx="13"/>
          </p:nvPr>
        </p:nvSpPr>
        <p:spPr>
          <a:xfrm>
            <a:off x="6139542" y="0"/>
            <a:ext cx="6052457" cy="6858000"/>
          </a:xfrm>
        </p:spPr>
        <p:txBody>
          <a:bodyPr/>
          <a:lstStyle/>
          <a:p>
            <a:endParaRPr lang="en-US" dirty="0"/>
          </a:p>
        </p:txBody>
      </p:sp>
      <p:sp>
        <p:nvSpPr>
          <p:cNvPr id="2" name="Title 1"/>
          <p:cNvSpPr>
            <a:spLocks noGrp="1"/>
          </p:cNvSpPr>
          <p:nvPr>
            <p:ph type="title"/>
          </p:nvPr>
        </p:nvSpPr>
        <p:spPr>
          <a:xfrm>
            <a:off x="838200" y="1775393"/>
            <a:ext cx="5092567" cy="2293256"/>
          </a:xfrm>
        </p:spPr>
        <p:txBody>
          <a:bodyPr wrap="square" anchor="b">
            <a:noAutofit/>
          </a:bodyPr>
          <a:lstStyle>
            <a:lvl1pPr>
              <a:defRPr lang="en-US" sz="66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3" name="Content Placeholder 2"/>
          <p:cNvSpPr>
            <a:spLocks noGrp="1"/>
          </p:cNvSpPr>
          <p:nvPr>
            <p:ph idx="1"/>
          </p:nvPr>
        </p:nvSpPr>
        <p:spPr>
          <a:xfrm>
            <a:off x="838200" y="4238171"/>
            <a:ext cx="4982029" cy="1779134"/>
          </a:xfrm>
        </p:spPr>
        <p:txBody>
          <a:bodyPr>
            <a:normAutofit/>
          </a:bodyPr>
          <a:lstStyle>
            <a:lvl1pPr>
              <a:defRPr sz="2000"/>
            </a:lvl1pPr>
            <a:lvl2pPr>
              <a:defRPr sz="18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303374808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8" name="Picture Placeholder 2"/>
          <p:cNvSpPr>
            <a:spLocks noGrp="1"/>
          </p:cNvSpPr>
          <p:nvPr>
            <p:ph type="pic" sz="quarter" idx="13"/>
          </p:nvPr>
        </p:nvSpPr>
        <p:spPr>
          <a:xfrm>
            <a:off x="4136572" y="0"/>
            <a:ext cx="8055428" cy="6858000"/>
          </a:xfrm>
        </p:spPr>
        <p:txBody>
          <a:bodyPr/>
          <a:lstStyle/>
          <a:p>
            <a:endParaRPr lang="en-US" dirty="0"/>
          </a:p>
        </p:txBody>
      </p:sp>
      <p:sp>
        <p:nvSpPr>
          <p:cNvPr id="2" name="Title 1"/>
          <p:cNvSpPr>
            <a:spLocks noGrp="1"/>
          </p:cNvSpPr>
          <p:nvPr>
            <p:ph type="title"/>
          </p:nvPr>
        </p:nvSpPr>
        <p:spPr>
          <a:xfrm>
            <a:off x="838200" y="1775393"/>
            <a:ext cx="3141591" cy="2293256"/>
          </a:xfrm>
        </p:spPr>
        <p:txBody>
          <a:bodyPr wrap="square" anchor="b">
            <a:noAutofit/>
          </a:bodyPr>
          <a:lstStyle>
            <a:lvl1pPr algn="r">
              <a:defRPr lang="en-US" sz="60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3" name="Content Placeholder 2"/>
          <p:cNvSpPr>
            <a:spLocks noGrp="1"/>
          </p:cNvSpPr>
          <p:nvPr>
            <p:ph idx="1"/>
          </p:nvPr>
        </p:nvSpPr>
        <p:spPr>
          <a:xfrm>
            <a:off x="838201" y="4238171"/>
            <a:ext cx="3073400" cy="1779134"/>
          </a:xfrm>
        </p:spPr>
        <p:txBody>
          <a:bodyPr>
            <a:normAutofit/>
          </a:bodyPr>
          <a:lstStyle>
            <a:lvl1pPr algn="r">
              <a:defRPr sz="1800"/>
            </a:lvl1pPr>
            <a:lvl2pPr algn="r">
              <a:defRPr sz="1600"/>
            </a:lvl2pPr>
            <a:lvl3pPr algn="r">
              <a:defRPr sz="1400"/>
            </a:lvl3pPr>
            <a:lvl4pPr algn="r">
              <a:defRPr sz="1200"/>
            </a:lvl4pPr>
            <a:lvl5pPr algn="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279903020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Picture Placeholder 2"/>
          <p:cNvSpPr>
            <a:spLocks noGrp="1"/>
          </p:cNvSpPr>
          <p:nvPr>
            <p:ph type="pic" sz="quarter" idx="13"/>
          </p:nvPr>
        </p:nvSpPr>
        <p:spPr>
          <a:xfrm>
            <a:off x="899290" y="3309256"/>
            <a:ext cx="11292709" cy="3548744"/>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3758538650"/>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8" name="Picture Placeholder 2"/>
          <p:cNvSpPr>
            <a:spLocks noGrp="1"/>
          </p:cNvSpPr>
          <p:nvPr>
            <p:ph type="pic" sz="quarter" idx="13"/>
          </p:nvPr>
        </p:nvSpPr>
        <p:spPr>
          <a:xfrm>
            <a:off x="1" y="2686121"/>
            <a:ext cx="6096000" cy="2535936"/>
          </a:xfrm>
        </p:spPr>
        <p:txBody>
          <a:bodyPr/>
          <a:lstStyle/>
          <a:p>
            <a:endParaRPr lang="en-US" dirty="0"/>
          </a:p>
        </p:txBody>
      </p:sp>
      <p:sp>
        <p:nvSpPr>
          <p:cNvPr id="9" name="Picture Placeholder 2"/>
          <p:cNvSpPr>
            <a:spLocks noGrp="1"/>
          </p:cNvSpPr>
          <p:nvPr>
            <p:ph type="pic" sz="quarter" idx="14"/>
          </p:nvPr>
        </p:nvSpPr>
        <p:spPr>
          <a:xfrm>
            <a:off x="6095999" y="2686121"/>
            <a:ext cx="6096000" cy="2535936"/>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130951686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9" name="Picture Placeholder 2"/>
          <p:cNvSpPr>
            <a:spLocks noGrp="1"/>
          </p:cNvSpPr>
          <p:nvPr>
            <p:ph type="pic" sz="quarter" idx="14"/>
          </p:nvPr>
        </p:nvSpPr>
        <p:spPr>
          <a:xfrm>
            <a:off x="6226330" y="2119086"/>
            <a:ext cx="5370585" cy="2562901"/>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
        <p:nvSpPr>
          <p:cNvPr id="8" name="Picture Placeholder 2"/>
          <p:cNvSpPr>
            <a:spLocks noGrp="1"/>
          </p:cNvSpPr>
          <p:nvPr>
            <p:ph type="pic" sz="quarter" idx="13"/>
          </p:nvPr>
        </p:nvSpPr>
        <p:spPr>
          <a:xfrm>
            <a:off x="855745" y="2119086"/>
            <a:ext cx="5370585" cy="2562901"/>
          </a:xfrm>
        </p:spPr>
        <p:txBody>
          <a:bodyPr/>
          <a:lstStyle/>
          <a:p>
            <a:endParaRPr lang="en-US" dirty="0"/>
          </a:p>
        </p:txBody>
      </p:sp>
    </p:spTree>
    <p:extLst>
      <p:ext uri="{BB962C8B-B14F-4D97-AF65-F5344CB8AC3E}">
        <p14:creationId xmlns:p14="http://schemas.microsoft.com/office/powerpoint/2010/main" val="286942272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8" name="Picture Placeholder 2"/>
          <p:cNvSpPr>
            <a:spLocks noGrp="1"/>
          </p:cNvSpPr>
          <p:nvPr>
            <p:ph type="pic" sz="quarter" idx="13"/>
          </p:nvPr>
        </p:nvSpPr>
        <p:spPr>
          <a:xfrm>
            <a:off x="0" y="0"/>
            <a:ext cx="4012661" cy="3429000"/>
          </a:xfrm>
        </p:spPr>
        <p:txBody>
          <a:bodyPr/>
          <a:lstStyle/>
          <a:p>
            <a:endParaRPr lang="en-US" dirty="0"/>
          </a:p>
        </p:txBody>
      </p:sp>
      <p:sp>
        <p:nvSpPr>
          <p:cNvPr id="9" name="Picture Placeholder 2"/>
          <p:cNvSpPr>
            <a:spLocks noGrp="1"/>
          </p:cNvSpPr>
          <p:nvPr>
            <p:ph type="pic" sz="quarter" idx="14"/>
          </p:nvPr>
        </p:nvSpPr>
        <p:spPr>
          <a:xfrm>
            <a:off x="4012661" y="3429000"/>
            <a:ext cx="4012661" cy="3429000"/>
          </a:xfrm>
        </p:spPr>
        <p:txBody>
          <a:bodyPr/>
          <a:lstStyle/>
          <a:p>
            <a:endParaRPr lang="en-US" dirty="0"/>
          </a:p>
        </p:txBody>
      </p:sp>
      <p:sp>
        <p:nvSpPr>
          <p:cNvPr id="2" name="Title 1"/>
          <p:cNvSpPr>
            <a:spLocks noGrp="1"/>
          </p:cNvSpPr>
          <p:nvPr>
            <p:ph type="title"/>
          </p:nvPr>
        </p:nvSpPr>
        <p:spPr>
          <a:xfrm>
            <a:off x="8268437" y="377825"/>
            <a:ext cx="3328478" cy="3279775"/>
          </a:xfrm>
        </p:spPr>
        <p:txBody>
          <a:bodyPr wrap="square" anchor="ctr">
            <a:noAutofit/>
          </a:bodyPr>
          <a:lstStyle>
            <a:lvl1pPr>
              <a:defRPr lang="en-US" sz="66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148576670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8" name="Picture Placeholder 2"/>
          <p:cNvSpPr>
            <a:spLocks noGrp="1"/>
          </p:cNvSpPr>
          <p:nvPr>
            <p:ph type="pic" sz="quarter" idx="13"/>
          </p:nvPr>
        </p:nvSpPr>
        <p:spPr>
          <a:xfrm>
            <a:off x="4069188" y="786997"/>
            <a:ext cx="2573935" cy="5599289"/>
          </a:xfrm>
        </p:spPr>
        <p:txBody>
          <a:bodyPr/>
          <a:lstStyle/>
          <a:p>
            <a:endParaRPr lang="en-US" dirty="0"/>
          </a:p>
        </p:txBody>
      </p:sp>
      <p:sp>
        <p:nvSpPr>
          <p:cNvPr id="12" name="Picture Placeholder 2"/>
          <p:cNvSpPr>
            <a:spLocks noGrp="1"/>
          </p:cNvSpPr>
          <p:nvPr>
            <p:ph type="pic" sz="quarter" idx="14"/>
          </p:nvPr>
        </p:nvSpPr>
        <p:spPr>
          <a:xfrm>
            <a:off x="6710554" y="786997"/>
            <a:ext cx="2573935" cy="5599289"/>
          </a:xfrm>
        </p:spPr>
        <p:txBody>
          <a:bodyPr/>
          <a:lstStyle/>
          <a:p>
            <a:endParaRPr lang="en-US" dirty="0"/>
          </a:p>
        </p:txBody>
      </p:sp>
      <p:sp>
        <p:nvSpPr>
          <p:cNvPr id="13" name="Picture Placeholder 2"/>
          <p:cNvSpPr>
            <a:spLocks noGrp="1"/>
          </p:cNvSpPr>
          <p:nvPr>
            <p:ph type="pic" sz="quarter" idx="15"/>
          </p:nvPr>
        </p:nvSpPr>
        <p:spPr>
          <a:xfrm>
            <a:off x="9351919" y="786997"/>
            <a:ext cx="2573935" cy="5599289"/>
          </a:xfrm>
        </p:spPr>
        <p:txBody>
          <a:bodyPr/>
          <a:lstStyle/>
          <a:p>
            <a:endParaRPr lang="en-US" dirty="0"/>
          </a:p>
        </p:txBody>
      </p:sp>
      <p:sp>
        <p:nvSpPr>
          <p:cNvPr id="2" name="Title 1"/>
          <p:cNvSpPr>
            <a:spLocks noGrp="1"/>
          </p:cNvSpPr>
          <p:nvPr>
            <p:ph type="title"/>
          </p:nvPr>
        </p:nvSpPr>
        <p:spPr>
          <a:xfrm>
            <a:off x="368891" y="2803525"/>
            <a:ext cx="3328478" cy="3279775"/>
          </a:xfrm>
        </p:spPr>
        <p:txBody>
          <a:bodyPr wrap="square" anchor="ctr">
            <a:noAutofit/>
          </a:bodyPr>
          <a:lstStyle>
            <a:lvl1pPr>
              <a:defRPr lang="en-US" sz="66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64164526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17" name="Picture Placeholder 2"/>
          <p:cNvSpPr>
            <a:spLocks noGrp="1"/>
          </p:cNvSpPr>
          <p:nvPr>
            <p:ph type="pic" sz="quarter" idx="15"/>
          </p:nvPr>
        </p:nvSpPr>
        <p:spPr>
          <a:xfrm>
            <a:off x="8122010" y="1"/>
            <a:ext cx="4059208" cy="4584336"/>
          </a:xfrm>
        </p:spPr>
        <p:txBody>
          <a:bodyPr/>
          <a:lstStyle/>
          <a:p>
            <a:endParaRPr lang="en-US" dirty="0"/>
          </a:p>
        </p:txBody>
      </p:sp>
      <p:sp>
        <p:nvSpPr>
          <p:cNvPr id="2" name="Title 1"/>
          <p:cNvSpPr>
            <a:spLocks noGrp="1"/>
          </p:cNvSpPr>
          <p:nvPr>
            <p:ph type="title"/>
          </p:nvPr>
        </p:nvSpPr>
        <p:spPr>
          <a:xfrm>
            <a:off x="1098846" y="4752152"/>
            <a:ext cx="9994309" cy="975548"/>
          </a:xfrm>
        </p:spPr>
        <p:txBody>
          <a:bodyPr wrap="square" anchor="ctr">
            <a:noAutofit/>
          </a:bodyPr>
          <a:lstStyle>
            <a:lvl1pPr algn="ctr">
              <a:defRPr lang="en-US" sz="54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
        <p:nvSpPr>
          <p:cNvPr id="11" name="Rectangle 10"/>
          <p:cNvSpPr/>
          <p:nvPr userDrawn="1"/>
        </p:nvSpPr>
        <p:spPr>
          <a:xfrm>
            <a:off x="0" y="4584336"/>
            <a:ext cx="4062802"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4062802" y="4584336"/>
            <a:ext cx="4062802"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8129198" y="4584336"/>
            <a:ext cx="4062802"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2"/>
          <p:cNvSpPr>
            <a:spLocks noGrp="1"/>
          </p:cNvSpPr>
          <p:nvPr>
            <p:ph type="pic" sz="quarter" idx="13"/>
          </p:nvPr>
        </p:nvSpPr>
        <p:spPr>
          <a:xfrm>
            <a:off x="0" y="1"/>
            <a:ext cx="4059208" cy="4584336"/>
          </a:xfrm>
        </p:spPr>
        <p:txBody>
          <a:bodyPr/>
          <a:lstStyle/>
          <a:p>
            <a:endParaRPr lang="en-US" dirty="0"/>
          </a:p>
        </p:txBody>
      </p:sp>
      <p:sp>
        <p:nvSpPr>
          <p:cNvPr id="16" name="Picture Placeholder 2"/>
          <p:cNvSpPr>
            <a:spLocks noGrp="1"/>
          </p:cNvSpPr>
          <p:nvPr>
            <p:ph type="pic" sz="quarter" idx="14"/>
          </p:nvPr>
        </p:nvSpPr>
        <p:spPr>
          <a:xfrm>
            <a:off x="4064599" y="1"/>
            <a:ext cx="4059208" cy="4584336"/>
          </a:xfrm>
        </p:spPr>
        <p:txBody>
          <a:bodyPr/>
          <a:lstStyle/>
          <a:p>
            <a:endParaRPr lang="en-US" dirty="0"/>
          </a:p>
        </p:txBody>
      </p:sp>
    </p:spTree>
    <p:extLst>
      <p:ext uri="{BB962C8B-B14F-4D97-AF65-F5344CB8AC3E}">
        <p14:creationId xmlns:p14="http://schemas.microsoft.com/office/powerpoint/2010/main" val="326559169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9" name="Picture Placeholder 2"/>
          <p:cNvSpPr>
            <a:spLocks noGrp="1"/>
          </p:cNvSpPr>
          <p:nvPr>
            <p:ph type="pic" sz="quarter" idx="13"/>
          </p:nvPr>
        </p:nvSpPr>
        <p:spPr>
          <a:xfrm>
            <a:off x="0" y="2152755"/>
            <a:ext cx="6236677" cy="3876433"/>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
        <p:nvSpPr>
          <p:cNvPr id="7" name="Rectangle 6"/>
          <p:cNvSpPr/>
          <p:nvPr userDrawn="1"/>
        </p:nvSpPr>
        <p:spPr>
          <a:xfrm>
            <a:off x="6236677" y="2152756"/>
            <a:ext cx="5975273" cy="387643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a:xfrm>
            <a:off x="6527800" y="2311400"/>
            <a:ext cx="4826000" cy="34925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7195995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8" name="Picture Placeholder 2"/>
          <p:cNvSpPr>
            <a:spLocks noGrp="1"/>
          </p:cNvSpPr>
          <p:nvPr>
            <p:ph type="pic" sz="quarter" idx="13"/>
          </p:nvPr>
        </p:nvSpPr>
        <p:spPr>
          <a:xfrm>
            <a:off x="0" y="0"/>
            <a:ext cx="12192000" cy="5835922"/>
          </a:xfrm>
        </p:spPr>
        <p:txBody>
          <a:bodyPr/>
          <a:lstStyle/>
          <a:p>
            <a:endParaRPr lang="en-US" dirty="0"/>
          </a:p>
        </p:txBody>
      </p:sp>
      <p:sp>
        <p:nvSpPr>
          <p:cNvPr id="2" name="Title 1"/>
          <p:cNvSpPr>
            <a:spLocks noGrp="1"/>
          </p:cNvSpPr>
          <p:nvPr>
            <p:ph type="title"/>
          </p:nvPr>
        </p:nvSpPr>
        <p:spPr>
          <a:xfrm>
            <a:off x="368891" y="2803525"/>
            <a:ext cx="3328478" cy="3279775"/>
          </a:xfrm>
        </p:spPr>
        <p:txBody>
          <a:bodyPr wrap="square" anchor="ctr">
            <a:noAutofit/>
          </a:bodyPr>
          <a:lstStyle>
            <a:lvl1pPr>
              <a:defRPr lang="en-US" sz="66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206948064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p:spPr>
        <p:txBody>
          <a:bodyPr/>
          <a:lstStyle/>
          <a:p>
            <a:endParaRPr lang="en-US"/>
          </a:p>
        </p:txBody>
      </p:sp>
      <p:sp>
        <p:nvSpPr>
          <p:cNvPr id="6" name="Title 1"/>
          <p:cNvSpPr>
            <a:spLocks noGrp="1"/>
          </p:cNvSpPr>
          <p:nvPr>
            <p:ph type="title"/>
          </p:nvPr>
        </p:nvSpPr>
        <p:spPr>
          <a:xfrm>
            <a:off x="629424" y="611868"/>
            <a:ext cx="4984903" cy="3234418"/>
          </a:xfrm>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Tree>
    <p:extLst>
      <p:ext uri="{BB962C8B-B14F-4D97-AF65-F5344CB8AC3E}">
        <p14:creationId xmlns:p14="http://schemas.microsoft.com/office/powerpoint/2010/main" val="349326841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9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p:spPr>
        <p:txBody>
          <a:bodyPr/>
          <a:lstStyle/>
          <a:p>
            <a:endParaRPr lang="en-US" dirty="0"/>
          </a:p>
        </p:txBody>
      </p:sp>
      <p:sp>
        <p:nvSpPr>
          <p:cNvPr id="5" name="Picture Placeholder 2"/>
          <p:cNvSpPr>
            <a:spLocks noGrp="1"/>
          </p:cNvSpPr>
          <p:nvPr>
            <p:ph type="pic" sz="quarter" idx="11"/>
          </p:nvPr>
        </p:nvSpPr>
        <p:spPr>
          <a:xfrm>
            <a:off x="1549400" y="1638301"/>
            <a:ext cx="2133600" cy="3810000"/>
          </a:xfrm>
          <a:solidFill>
            <a:schemeClr val="bg1">
              <a:lumMod val="85000"/>
            </a:schemeClr>
          </a:solidFill>
        </p:spPr>
        <p:txBody>
          <a:bodyPr/>
          <a:lstStyle/>
          <a:p>
            <a:endParaRPr lang="en-US" dirty="0"/>
          </a:p>
        </p:txBody>
      </p:sp>
      <p:sp>
        <p:nvSpPr>
          <p:cNvPr id="6" name="Title 1"/>
          <p:cNvSpPr>
            <a:spLocks noGrp="1"/>
          </p:cNvSpPr>
          <p:nvPr>
            <p:ph type="title"/>
          </p:nvPr>
        </p:nvSpPr>
        <p:spPr>
          <a:xfrm>
            <a:off x="5557024" y="611868"/>
            <a:ext cx="4984903" cy="3234418"/>
          </a:xfrm>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Tree>
    <p:extLst>
      <p:ext uri="{BB962C8B-B14F-4D97-AF65-F5344CB8AC3E}">
        <p14:creationId xmlns:p14="http://schemas.microsoft.com/office/powerpoint/2010/main" val="1273153936"/>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376674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094122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p:spPr>
        <p:txBody>
          <a:bodyPr/>
          <a:lstStyle/>
          <a:p>
            <a:endParaRPr lang="en-US"/>
          </a:p>
        </p:txBody>
      </p:sp>
    </p:spTree>
    <p:extLst>
      <p:ext uri="{BB962C8B-B14F-4D97-AF65-F5344CB8AC3E}">
        <p14:creationId xmlns:p14="http://schemas.microsoft.com/office/powerpoint/2010/main" val="315079405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p:spPr>
        <p:txBody>
          <a:bodyPr/>
          <a:lstStyle/>
          <a:p>
            <a:endParaRPr lang="en-US"/>
          </a:p>
        </p:txBody>
      </p:sp>
      <p:sp>
        <p:nvSpPr>
          <p:cNvPr id="5" name="Picture Placeholder 2"/>
          <p:cNvSpPr>
            <a:spLocks noGrp="1"/>
          </p:cNvSpPr>
          <p:nvPr>
            <p:ph type="pic" sz="quarter" idx="11"/>
          </p:nvPr>
        </p:nvSpPr>
        <p:spPr>
          <a:xfrm>
            <a:off x="1019739" y="2219555"/>
            <a:ext cx="4220788" cy="2506394"/>
          </a:xfrm>
        </p:spPr>
        <p:txBody>
          <a:bodyPr/>
          <a:lstStyle/>
          <a:p>
            <a:endParaRPr lang="en-US"/>
          </a:p>
        </p:txBody>
      </p:sp>
    </p:spTree>
    <p:extLst>
      <p:ext uri="{BB962C8B-B14F-4D97-AF65-F5344CB8AC3E}">
        <p14:creationId xmlns:p14="http://schemas.microsoft.com/office/powerpoint/2010/main" val="339990882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p:spPr>
        <p:txBody>
          <a:bodyPr/>
          <a:lstStyle/>
          <a:p>
            <a:endParaRPr lang="en-US"/>
          </a:p>
        </p:txBody>
      </p:sp>
      <p:grpSp>
        <p:nvGrpSpPr>
          <p:cNvPr id="5" name="Group 4"/>
          <p:cNvGrpSpPr/>
          <p:nvPr userDrawn="1"/>
        </p:nvGrpSpPr>
        <p:grpSpPr>
          <a:xfrm>
            <a:off x="2019300" y="4085408"/>
            <a:ext cx="8153400" cy="0"/>
            <a:chOff x="2019300" y="3714750"/>
            <a:chExt cx="8153400" cy="0"/>
          </a:xfrm>
        </p:grpSpPr>
        <p:cxnSp>
          <p:nvCxnSpPr>
            <p:cNvPr id="6" name="Straight Connector 5"/>
            <p:cNvCxnSpPr/>
            <p:nvPr/>
          </p:nvCxnSpPr>
          <p:spPr>
            <a:xfrm>
              <a:off x="2019300" y="3714750"/>
              <a:ext cx="3181350"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991350" y="3714750"/>
              <a:ext cx="3181350"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 name="Group 8"/>
          <p:cNvGrpSpPr/>
          <p:nvPr userDrawn="1"/>
        </p:nvGrpSpPr>
        <p:grpSpPr>
          <a:xfrm>
            <a:off x="2019300" y="2038894"/>
            <a:ext cx="8153400" cy="0"/>
            <a:chOff x="2019300" y="3714750"/>
            <a:chExt cx="8153400" cy="0"/>
          </a:xfrm>
        </p:grpSpPr>
        <p:cxnSp>
          <p:nvCxnSpPr>
            <p:cNvPr id="10" name="Straight Connector 9"/>
            <p:cNvCxnSpPr/>
            <p:nvPr/>
          </p:nvCxnSpPr>
          <p:spPr>
            <a:xfrm>
              <a:off x="2019300" y="3714750"/>
              <a:ext cx="3181350"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991350" y="3714750"/>
              <a:ext cx="3181350"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0" name="Title 1"/>
          <p:cNvSpPr>
            <a:spLocks noGrp="1"/>
          </p:cNvSpPr>
          <p:nvPr>
            <p:ph type="title"/>
          </p:nvPr>
        </p:nvSpPr>
        <p:spPr>
          <a:xfrm>
            <a:off x="2019300" y="2444749"/>
            <a:ext cx="8153400" cy="1325563"/>
          </a:xfrm>
        </p:spPr>
        <p:txBody>
          <a:bodyPr wrap="square" anchor="ctr">
            <a:noAutofit/>
          </a:bodyPr>
          <a:lstStyle>
            <a:lvl1pPr algn="ctr">
              <a:defRPr lang="en-US" sz="8800" kern="0" spc="-151" dirty="0">
                <a:solidFill>
                  <a:schemeClr val="bg1"/>
                </a:solidFill>
                <a:ea typeface="Open Sans" panose="020B0606030504020204" pitchFamily="34" charset="0"/>
                <a:cs typeface="Open Sans" panose="020B0606030504020204" pitchFamily="34" charset="0"/>
              </a:defRPr>
            </a:lvl1pPr>
          </a:lstStyle>
          <a:p>
            <a:pPr marL="0" lvl="0" algn="ctr" fontAlgn="base">
              <a:spcAft>
                <a:spcPct val="0"/>
              </a:spcAft>
            </a:pPr>
            <a:r>
              <a:rPr lang="en-US" dirty="0" smtClean="0"/>
              <a:t>Click to edit Master</a:t>
            </a:r>
            <a:endParaRPr lang="en-US" dirty="0"/>
          </a:p>
        </p:txBody>
      </p:sp>
      <p:sp>
        <p:nvSpPr>
          <p:cNvPr id="21" name="Content Placeholder 2"/>
          <p:cNvSpPr>
            <a:spLocks noGrp="1"/>
          </p:cNvSpPr>
          <p:nvPr>
            <p:ph idx="1"/>
          </p:nvPr>
        </p:nvSpPr>
        <p:spPr>
          <a:xfrm>
            <a:off x="2019300" y="4176166"/>
            <a:ext cx="3181350" cy="1716634"/>
          </a:xfrm>
        </p:spPr>
        <p:txBody>
          <a:bodyPr>
            <a:normAutofit/>
          </a:bodyPr>
          <a:lstStyle>
            <a:lvl1pPr marL="0" indent="0">
              <a:buNone/>
              <a:defRPr sz="1400"/>
            </a:lvl1pPr>
            <a:lvl2pPr>
              <a:defRPr sz="1600"/>
            </a:lvl2pPr>
            <a:lvl3pPr>
              <a:defRPr sz="1400"/>
            </a:lvl3pPr>
            <a:lvl4pPr>
              <a:defRPr sz="1200"/>
            </a:lvl4pPr>
            <a:lvl5pPr>
              <a:defRPr sz="1200"/>
            </a:lvl5pPr>
          </a:lstStyle>
          <a:p>
            <a:pPr lvl="0"/>
            <a:r>
              <a:rPr lang="en-US" dirty="0" smtClean="0"/>
              <a:t>Click to edit Master text styles</a:t>
            </a:r>
          </a:p>
        </p:txBody>
      </p:sp>
      <p:sp>
        <p:nvSpPr>
          <p:cNvPr id="22" name="Content Placeholder 2"/>
          <p:cNvSpPr>
            <a:spLocks noGrp="1"/>
          </p:cNvSpPr>
          <p:nvPr>
            <p:ph idx="11"/>
          </p:nvPr>
        </p:nvSpPr>
        <p:spPr>
          <a:xfrm>
            <a:off x="6991350" y="4176166"/>
            <a:ext cx="3181350" cy="1716634"/>
          </a:xfrm>
        </p:spPr>
        <p:txBody>
          <a:bodyPr>
            <a:normAutofit/>
          </a:bodyPr>
          <a:lstStyle>
            <a:lvl1pPr marL="0" indent="0" algn="r">
              <a:buNone/>
              <a:defRPr sz="1400"/>
            </a:lvl1pPr>
            <a:lvl2pPr>
              <a:defRPr sz="1600"/>
            </a:lvl2pPr>
            <a:lvl3pPr>
              <a:defRPr sz="1400"/>
            </a:lvl3pPr>
            <a:lvl4pPr>
              <a:defRPr sz="1200"/>
            </a:lvl4pPr>
            <a:lvl5pPr>
              <a:defRPr sz="1200"/>
            </a:lvl5pPr>
          </a:lstStyle>
          <a:p>
            <a:pPr lvl="0"/>
            <a:r>
              <a:rPr lang="en-US" dirty="0" smtClean="0"/>
              <a:t>Click to edit Master text styles</a:t>
            </a:r>
          </a:p>
        </p:txBody>
      </p:sp>
    </p:spTree>
    <p:extLst>
      <p:ext uri="{BB962C8B-B14F-4D97-AF65-F5344CB8AC3E}">
        <p14:creationId xmlns:p14="http://schemas.microsoft.com/office/powerpoint/2010/main" val="1953516979"/>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407886"/>
            <a:ext cx="12192000" cy="5450114"/>
          </a:xfrm>
        </p:spPr>
        <p:txBody>
          <a:bodyPr/>
          <a:lstStyle/>
          <a:p>
            <a:endParaRPr lang="en-US" dirty="0"/>
          </a:p>
        </p:txBody>
      </p:sp>
      <p:sp>
        <p:nvSpPr>
          <p:cNvPr id="9" name="Title 1"/>
          <p:cNvSpPr>
            <a:spLocks noGrp="1"/>
          </p:cNvSpPr>
          <p:nvPr>
            <p:ph type="title"/>
          </p:nvPr>
        </p:nvSpPr>
        <p:spPr>
          <a:xfrm>
            <a:off x="409634" y="2144746"/>
            <a:ext cx="4865914" cy="2308529"/>
          </a:xfrm>
        </p:spPr>
        <p:txBody>
          <a:bodyPr wrap="square" anchor="ctr">
            <a:noAutofit/>
          </a:bodyPr>
          <a:lstStyle>
            <a:lvl1pPr>
              <a:defRPr lang="en-US" sz="66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Tree>
    <p:extLst>
      <p:ext uri="{BB962C8B-B14F-4D97-AF65-F5344CB8AC3E}">
        <p14:creationId xmlns:p14="http://schemas.microsoft.com/office/powerpoint/2010/main" val="186176679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2142490"/>
            <a:ext cx="12192000" cy="4715509"/>
          </a:xfrm>
        </p:spPr>
        <p:txBody>
          <a:bodyPr/>
          <a:lstStyle/>
          <a:p>
            <a:endParaRPr lang="en-US" dirty="0"/>
          </a:p>
        </p:txBody>
      </p:sp>
      <p:sp>
        <p:nvSpPr>
          <p:cNvPr id="9" name="Title 1"/>
          <p:cNvSpPr>
            <a:spLocks noGrp="1"/>
          </p:cNvSpPr>
          <p:nvPr>
            <p:ph type="title"/>
          </p:nvPr>
        </p:nvSpPr>
        <p:spPr>
          <a:xfrm>
            <a:off x="1004720" y="649775"/>
            <a:ext cx="4865914" cy="2308529"/>
          </a:xfrm>
        </p:spPr>
        <p:txBody>
          <a:bodyPr wrap="square" anchor="ctr">
            <a:noAutofit/>
          </a:bodyPr>
          <a:lstStyle>
            <a:lvl1pPr>
              <a:defRPr lang="en-US" sz="66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Tree>
    <p:extLst>
      <p:ext uri="{BB962C8B-B14F-4D97-AF65-F5344CB8AC3E}">
        <p14:creationId xmlns:p14="http://schemas.microsoft.com/office/powerpoint/2010/main" val="131646600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12" name="Picture Placeholder 11"/>
          <p:cNvSpPr>
            <a:spLocks noGrp="1"/>
          </p:cNvSpPr>
          <p:nvPr>
            <p:ph type="pic" sz="quarter" idx="13"/>
          </p:nvPr>
        </p:nvSpPr>
        <p:spPr>
          <a:xfrm>
            <a:off x="6199339" y="0"/>
            <a:ext cx="5992661" cy="6858000"/>
          </a:xfrm>
          <a:custGeom>
            <a:avLst/>
            <a:gdLst>
              <a:gd name="connsiteX0" fmla="*/ 1026961 w 5992661"/>
              <a:gd name="connsiteY0" fmla="*/ 0 h 6858000"/>
              <a:gd name="connsiteX1" fmla="*/ 5992661 w 5992661"/>
              <a:gd name="connsiteY1" fmla="*/ 0 h 6858000"/>
              <a:gd name="connsiteX2" fmla="*/ 5992661 w 5992661"/>
              <a:gd name="connsiteY2" fmla="*/ 6858000 h 6858000"/>
              <a:gd name="connsiteX3" fmla="*/ 1026961 w 5992661"/>
              <a:gd name="connsiteY3" fmla="*/ 6858000 h 6858000"/>
              <a:gd name="connsiteX4" fmla="*/ 1026961 w 5992661"/>
              <a:gd name="connsiteY4" fmla="*/ 4211640 h 6858000"/>
              <a:gd name="connsiteX5" fmla="*/ 944763 w 5992661"/>
              <a:gd name="connsiteY5" fmla="*/ 4207489 h 6858000"/>
              <a:gd name="connsiteX6" fmla="*/ 0 w 5992661"/>
              <a:gd name="connsiteY6" fmla="*/ 3160561 h 6858000"/>
              <a:gd name="connsiteX7" fmla="*/ 944763 w 5992661"/>
              <a:gd name="connsiteY7" fmla="*/ 2113633 h 6858000"/>
              <a:gd name="connsiteX8" fmla="*/ 1026961 w 5992661"/>
              <a:gd name="connsiteY8" fmla="*/ 21094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92661" h="6858000">
                <a:moveTo>
                  <a:pt x="1026961" y="0"/>
                </a:moveTo>
                <a:lnTo>
                  <a:pt x="5992661" y="0"/>
                </a:lnTo>
                <a:lnTo>
                  <a:pt x="5992661" y="6858000"/>
                </a:lnTo>
                <a:lnTo>
                  <a:pt x="1026961" y="6858000"/>
                </a:lnTo>
                <a:lnTo>
                  <a:pt x="1026961" y="4211640"/>
                </a:lnTo>
                <a:lnTo>
                  <a:pt x="944763" y="4207489"/>
                </a:lnTo>
                <a:cubicBezTo>
                  <a:pt x="414104" y="4153598"/>
                  <a:pt x="0" y="3705439"/>
                  <a:pt x="0" y="3160561"/>
                </a:cubicBezTo>
                <a:cubicBezTo>
                  <a:pt x="0" y="2615683"/>
                  <a:pt x="414104" y="2167525"/>
                  <a:pt x="944763" y="2113633"/>
                </a:cubicBezTo>
                <a:lnTo>
                  <a:pt x="1026961" y="2109483"/>
                </a:lnTo>
                <a:close/>
              </a:path>
            </a:pathLst>
          </a:custGeom>
          <a:solidFill>
            <a:schemeClr val="bg1">
              <a:lumMod val="85000"/>
            </a:schemeClr>
          </a:solidFill>
        </p:spPr>
        <p:txBody>
          <a:bodyPr wrap="square">
            <a:noAutofit/>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450068485"/>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407886"/>
            <a:ext cx="12192000" cy="5450114"/>
          </a:xfrm>
        </p:spPr>
        <p:txBody>
          <a:bodyPr/>
          <a:lstStyle/>
          <a:p>
            <a:endParaRPr lang="en-US" dirty="0"/>
          </a:p>
        </p:txBody>
      </p:sp>
      <p:sp>
        <p:nvSpPr>
          <p:cNvPr id="5" name="Picture Placeholder 4"/>
          <p:cNvSpPr>
            <a:spLocks noGrp="1"/>
          </p:cNvSpPr>
          <p:nvPr>
            <p:ph type="pic" sz="quarter" idx="11"/>
          </p:nvPr>
        </p:nvSpPr>
        <p:spPr>
          <a:xfrm>
            <a:off x="8024509" y="348065"/>
            <a:ext cx="2450133" cy="2450133"/>
          </a:xfrm>
          <a:prstGeom prst="ellipse">
            <a:avLst/>
          </a:prstGeom>
          <a:solidFill>
            <a:schemeClr val="bg1">
              <a:lumMod val="85000"/>
            </a:schemeClr>
          </a:solidFill>
          <a:ln w="57150">
            <a:solidFill>
              <a:schemeClr val="bg1"/>
            </a:solidFill>
          </a:ln>
        </p:spPr>
        <p:txBody>
          <a:bodyPr/>
          <a:lstStyle/>
          <a:p>
            <a:endParaRPr lang="en-US" dirty="0"/>
          </a:p>
        </p:txBody>
      </p:sp>
      <p:sp>
        <p:nvSpPr>
          <p:cNvPr id="9" name="Title 1"/>
          <p:cNvSpPr>
            <a:spLocks noGrp="1"/>
          </p:cNvSpPr>
          <p:nvPr>
            <p:ph type="title"/>
          </p:nvPr>
        </p:nvSpPr>
        <p:spPr>
          <a:xfrm>
            <a:off x="409634" y="2144746"/>
            <a:ext cx="4865914" cy="2308529"/>
          </a:xfrm>
        </p:spPr>
        <p:txBody>
          <a:bodyPr wrap="square" anchor="ctr">
            <a:noAutofit/>
          </a:bodyPr>
          <a:lstStyle>
            <a:lvl1pPr>
              <a:defRPr lang="en-US" sz="66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Tree>
    <p:extLst>
      <p:ext uri="{BB962C8B-B14F-4D97-AF65-F5344CB8AC3E}">
        <p14:creationId xmlns:p14="http://schemas.microsoft.com/office/powerpoint/2010/main" val="127072625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137558" y="546265"/>
            <a:ext cx="8182099" cy="4298867"/>
          </a:xfrm>
        </p:spPr>
        <p:txBody>
          <a:bodyPr/>
          <a:lstStyle/>
          <a:p>
            <a:endParaRPr lang="en-US"/>
          </a:p>
        </p:txBody>
      </p:sp>
    </p:spTree>
    <p:extLst>
      <p:ext uri="{BB962C8B-B14F-4D97-AF65-F5344CB8AC3E}">
        <p14:creationId xmlns:p14="http://schemas.microsoft.com/office/powerpoint/2010/main" val="29965693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9" name="Picture Placeholder 2"/>
          <p:cNvSpPr>
            <a:spLocks noGrp="1"/>
          </p:cNvSpPr>
          <p:nvPr>
            <p:ph type="pic" sz="quarter" idx="13"/>
          </p:nvPr>
        </p:nvSpPr>
        <p:spPr>
          <a:xfrm>
            <a:off x="0" y="1999008"/>
            <a:ext cx="12192000" cy="4343400"/>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35507796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4_Title and Content">
    <p:spTree>
      <p:nvGrpSpPr>
        <p:cNvPr id="1" name=""/>
        <p:cNvGrpSpPr/>
        <p:nvPr/>
      </p:nvGrpSpPr>
      <p:grpSpPr>
        <a:xfrm>
          <a:off x="0" y="0"/>
          <a:ext cx="0" cy="0"/>
          <a:chOff x="0" y="0"/>
          <a:chExt cx="0" cy="0"/>
        </a:xfrm>
      </p:grpSpPr>
      <p:sp>
        <p:nvSpPr>
          <p:cNvPr id="9" name="Picture Placeholder 2"/>
          <p:cNvSpPr>
            <a:spLocks noGrp="1"/>
          </p:cNvSpPr>
          <p:nvPr>
            <p:ph type="pic" sz="quarter" idx="13"/>
          </p:nvPr>
        </p:nvSpPr>
        <p:spPr>
          <a:xfrm>
            <a:off x="0" y="0"/>
            <a:ext cx="12192000" cy="4355432"/>
          </a:xfrm>
        </p:spPr>
        <p:txBody>
          <a:bodyPr/>
          <a:lstStyle/>
          <a:p>
            <a:endParaRPr lang="en-US" dirty="0"/>
          </a:p>
        </p:txBody>
      </p:sp>
      <p:sp>
        <p:nvSpPr>
          <p:cNvPr id="2" name="Title 1"/>
          <p:cNvSpPr>
            <a:spLocks noGrp="1"/>
          </p:cNvSpPr>
          <p:nvPr>
            <p:ph type="title"/>
          </p:nvPr>
        </p:nvSpPr>
        <p:spPr>
          <a:xfrm>
            <a:off x="8013700" y="304466"/>
            <a:ext cx="3505200" cy="3746500"/>
          </a:xfrm>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246755063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5422900" y="0"/>
            <a:ext cx="6769100" cy="5291383"/>
          </a:xfrm>
          <a:custGeom>
            <a:avLst/>
            <a:gdLst>
              <a:gd name="connsiteX0" fmla="*/ 0 w 6769100"/>
              <a:gd name="connsiteY0" fmla="*/ 0 h 5291383"/>
              <a:gd name="connsiteX1" fmla="*/ 6769100 w 6769100"/>
              <a:gd name="connsiteY1" fmla="*/ 0 h 5291383"/>
              <a:gd name="connsiteX2" fmla="*/ 6769100 w 6769100"/>
              <a:gd name="connsiteY2" fmla="*/ 5291383 h 5291383"/>
              <a:gd name="connsiteX3" fmla="*/ 0 w 6769100"/>
              <a:gd name="connsiteY3" fmla="*/ 5291383 h 5291383"/>
              <a:gd name="connsiteX4" fmla="*/ 0 w 6769100"/>
              <a:gd name="connsiteY4" fmla="*/ 0 h 5291383"/>
              <a:gd name="connsiteX0" fmla="*/ 0 w 6769100"/>
              <a:gd name="connsiteY0" fmla="*/ 0 h 5291383"/>
              <a:gd name="connsiteX1" fmla="*/ 6769100 w 6769100"/>
              <a:gd name="connsiteY1" fmla="*/ 0 h 5291383"/>
              <a:gd name="connsiteX2" fmla="*/ 6769100 w 6769100"/>
              <a:gd name="connsiteY2" fmla="*/ 5291383 h 5291383"/>
              <a:gd name="connsiteX3" fmla="*/ 0 w 6769100"/>
              <a:gd name="connsiteY3" fmla="*/ 0 h 5291383"/>
            </a:gdLst>
            <a:ahLst/>
            <a:cxnLst>
              <a:cxn ang="0">
                <a:pos x="connsiteX0" y="connsiteY0"/>
              </a:cxn>
              <a:cxn ang="0">
                <a:pos x="connsiteX1" y="connsiteY1"/>
              </a:cxn>
              <a:cxn ang="0">
                <a:pos x="connsiteX2" y="connsiteY2"/>
              </a:cxn>
              <a:cxn ang="0">
                <a:pos x="connsiteX3" y="connsiteY3"/>
              </a:cxn>
            </a:cxnLst>
            <a:rect l="l" t="t" r="r" b="b"/>
            <a:pathLst>
              <a:path w="6769100" h="5291383">
                <a:moveTo>
                  <a:pt x="0" y="0"/>
                </a:moveTo>
                <a:lnTo>
                  <a:pt x="6769100" y="0"/>
                </a:lnTo>
                <a:lnTo>
                  <a:pt x="6769100" y="5291383"/>
                </a:lnTo>
                <a:lnTo>
                  <a:pt x="0" y="0"/>
                </a:lnTo>
                <a:close/>
              </a:path>
            </a:pathLst>
          </a:custGeom>
          <a:noFill/>
        </p:spPr>
        <p:txBody>
          <a:bodyPr/>
          <a:lstStyle/>
          <a:p>
            <a:endParaRPr lang="en-US"/>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387027451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899287" y="2002971"/>
            <a:ext cx="3614653" cy="4368800"/>
          </a:xfrm>
        </p:spPr>
        <p:txBody>
          <a:bodyPr/>
          <a:lstStyle/>
          <a:p>
            <a:endParaRPr lang="en-US" dirty="0"/>
          </a:p>
        </p:txBody>
      </p:sp>
      <p:sp>
        <p:nvSpPr>
          <p:cNvPr id="2" name="Title 1"/>
          <p:cNvSpPr>
            <a:spLocks noGrp="1"/>
          </p:cNvSpPr>
          <p:nvPr>
            <p:ph type="title"/>
          </p:nvPr>
        </p:nvSpPr>
        <p:spPr/>
        <p:txBody>
          <a:bodyPr wrap="square" anchor="ctr">
            <a:noAutofit/>
          </a:bodyPr>
          <a:lstStyle>
            <a:lvl1pPr>
              <a:defRPr lang="en-US" sz="7200" b="1" kern="0">
                <a:solidFill>
                  <a:schemeClr val="bg1"/>
                </a:solidFill>
                <a:ea typeface="Open Sans" panose="020B0606030504020204" pitchFamily="34" charset="0"/>
                <a:cs typeface="Open Sans" panose="020B0606030504020204" pitchFamily="34" charset="0"/>
              </a:defRPr>
            </a:lvl1pPr>
          </a:lstStyle>
          <a:p>
            <a:pPr marL="0" lvl="0" fontAlgn="base">
              <a:lnSpc>
                <a:spcPct val="70000"/>
              </a:lnSpc>
              <a:spcAft>
                <a:spcPct val="0"/>
              </a:spcAft>
            </a:pPr>
            <a:r>
              <a:rPr lang="en-US" dirty="0" smtClean="0"/>
              <a:t>Click to edit Master title style</a:t>
            </a:r>
            <a:endParaRPr lang="en-US" dirty="0"/>
          </a:p>
        </p:txBody>
      </p:sp>
      <p:sp>
        <p:nvSpPr>
          <p:cNvPr id="3" name="Content Placeholder 2"/>
          <p:cNvSpPr>
            <a:spLocks noGrp="1"/>
          </p:cNvSpPr>
          <p:nvPr>
            <p:ph idx="1"/>
          </p:nvPr>
        </p:nvSpPr>
        <p:spPr>
          <a:xfrm>
            <a:off x="4760686" y="2002971"/>
            <a:ext cx="6593114" cy="4368800"/>
          </a:xfrm>
        </p:spPr>
        <p:txBody>
          <a:body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252059081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E0F1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3"/>
          <p:cNvSpPr txBox="1">
            <a:spLocks/>
          </p:cNvSpPr>
          <p:nvPr userDrawn="1"/>
        </p:nvSpPr>
        <p:spPr>
          <a:xfrm>
            <a:off x="10140113" y="6448407"/>
            <a:ext cx="1734387" cy="313887"/>
          </a:xfrm>
          <a:prstGeom prst="rect">
            <a:avLst/>
          </a:prstGeom>
          <a:noFill/>
          <a:ln>
            <a:solidFill>
              <a:schemeClr val="tx1">
                <a:lumMod val="85000"/>
                <a:lumOff val="15000"/>
              </a:schemeClr>
            </a:solid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smtClean="0">
                <a:solidFill>
                  <a:schemeClr val="bg1"/>
                </a:solidFill>
                <a:latin typeface="+mj-lt"/>
              </a:rPr>
              <a:t>WWW.YOURCOMPANY.COM</a:t>
            </a:r>
            <a:endParaRPr lang="en-US" sz="1000" dirty="0">
              <a:solidFill>
                <a:schemeClr val="bg1"/>
              </a:solidFill>
              <a:latin typeface="+mj-lt"/>
            </a:endParaRPr>
          </a:p>
        </p:txBody>
      </p:sp>
      <p:grpSp>
        <p:nvGrpSpPr>
          <p:cNvPr id="8" name="Group 7"/>
          <p:cNvGrpSpPr/>
          <p:nvPr userDrawn="1"/>
        </p:nvGrpSpPr>
        <p:grpSpPr>
          <a:xfrm>
            <a:off x="183313" y="137755"/>
            <a:ext cx="585945" cy="446111"/>
            <a:chOff x="1749703" y="2330672"/>
            <a:chExt cx="585945" cy="446111"/>
          </a:xfrm>
          <a:solidFill>
            <a:srgbClr val="40BAB1"/>
          </a:solidFill>
        </p:grpSpPr>
        <p:sp>
          <p:nvSpPr>
            <p:cNvPr id="9" name="Right Triangle 8"/>
            <p:cNvSpPr/>
            <p:nvPr/>
          </p:nvSpPr>
          <p:spPr>
            <a:xfrm flipV="1">
              <a:off x="1976024" y="2330672"/>
              <a:ext cx="359624" cy="377968"/>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Lato Light" panose="020F0402020204030203" pitchFamily="34" charset="0"/>
                <a:cs typeface="Lato Light" panose="020F0402020204030203" pitchFamily="34" charset="0"/>
              </a:endParaRPr>
            </a:p>
          </p:txBody>
        </p:sp>
        <p:sp>
          <p:nvSpPr>
            <p:cNvPr id="10" name="Rectangle 9"/>
            <p:cNvSpPr/>
            <p:nvPr/>
          </p:nvSpPr>
          <p:spPr>
            <a:xfrm>
              <a:off x="1749703" y="2330672"/>
              <a:ext cx="446111" cy="446111"/>
            </a:xfrm>
            <a:prstGeom prst="rect">
              <a:avLst/>
            </a:prstGeom>
            <a:solidFill>
              <a:schemeClr val="accent1"/>
            </a:solid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bg1"/>
                </a:solidFill>
                <a:latin typeface="Lato Light" panose="020F0402020204030203" pitchFamily="34" charset="0"/>
                <a:ea typeface="Roboto Light" panose="02000000000000000000" pitchFamily="2" charset="0"/>
                <a:cs typeface="Lato Light" panose="020F0402020204030203" pitchFamily="34" charset="0"/>
              </a:endParaRPr>
            </a:p>
          </p:txBody>
        </p:sp>
      </p:grpSp>
      <p:sp>
        <p:nvSpPr>
          <p:cNvPr id="6" name="Slide Number Placeholder 5"/>
          <p:cNvSpPr>
            <a:spLocks noGrp="1"/>
          </p:cNvSpPr>
          <p:nvPr>
            <p:ph type="sldNum" sz="quarter" idx="4"/>
          </p:nvPr>
        </p:nvSpPr>
        <p:spPr>
          <a:xfrm>
            <a:off x="183313" y="209529"/>
            <a:ext cx="446111" cy="313887"/>
          </a:xfrm>
          <a:prstGeom prst="rect">
            <a:avLst/>
          </a:prstGeom>
          <a:noFill/>
        </p:spPr>
        <p:txBody>
          <a:bodyPr anchor="ctr"/>
          <a:lstStyle>
            <a:lvl1pPr algn="ctr">
              <a:defRPr lang="en-US" sz="1000" smtClean="0">
                <a:solidFill>
                  <a:schemeClr val="bg1"/>
                </a:solidFill>
                <a:latin typeface="+mj-lt"/>
              </a:defRPr>
            </a:lvl1pPr>
          </a:lstStyle>
          <a:p>
            <a:fld id="{32ECD629-4DA5-4EAE-B174-69948CAAE2CE}" type="slidenum">
              <a:rPr lang="en-US" smtClean="0"/>
              <a:pPr/>
              <a:t>‹#›</a:t>
            </a:fld>
            <a:endParaRPr lang="en-US" dirty="0"/>
          </a:p>
        </p:txBody>
      </p:sp>
    </p:spTree>
    <p:extLst>
      <p:ext uri="{BB962C8B-B14F-4D97-AF65-F5344CB8AC3E}">
        <p14:creationId xmlns:p14="http://schemas.microsoft.com/office/powerpoint/2010/main" val="23913570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88" r:id="rId3"/>
    <p:sldLayoutId id="2147483680" r:id="rId4"/>
    <p:sldLayoutId id="2147483689" r:id="rId5"/>
    <p:sldLayoutId id="2147483681" r:id="rId6"/>
    <p:sldLayoutId id="2147483682" r:id="rId7"/>
    <p:sldLayoutId id="2147483673" r:id="rId8"/>
    <p:sldLayoutId id="2147483663" r:id="rId9"/>
    <p:sldLayoutId id="2147483676" r:id="rId10"/>
    <p:sldLayoutId id="2147483677" r:id="rId11"/>
    <p:sldLayoutId id="2147483679" r:id="rId12"/>
    <p:sldLayoutId id="2147483692" r:id="rId13"/>
    <p:sldLayoutId id="2147483693" r:id="rId14"/>
    <p:sldLayoutId id="2147483694" r:id="rId15"/>
    <p:sldLayoutId id="2147483695" r:id="rId16"/>
    <p:sldLayoutId id="2147483697" r:id="rId17"/>
    <p:sldLayoutId id="2147483678" r:id="rId18"/>
    <p:sldLayoutId id="2147483664" r:id="rId19"/>
    <p:sldLayoutId id="2147483672" r:id="rId20"/>
    <p:sldLayoutId id="2147483667" r:id="rId21"/>
    <p:sldLayoutId id="2147483671" r:id="rId22"/>
    <p:sldLayoutId id="2147483662" r:id="rId23"/>
    <p:sldLayoutId id="2147483668" r:id="rId24"/>
    <p:sldLayoutId id="2147483669" r:id="rId25"/>
    <p:sldLayoutId id="2147483670" r:id="rId26"/>
    <p:sldLayoutId id="2147483666" r:id="rId27"/>
    <p:sldLayoutId id="2147483665" r:id="rId28"/>
    <p:sldLayoutId id="2147483699" r:id="rId29"/>
    <p:sldLayoutId id="2147483661" r:id="rId30"/>
    <p:sldLayoutId id="2147483660" r:id="rId31"/>
    <p:sldLayoutId id="2147483657" r:id="rId32"/>
    <p:sldLayoutId id="2147483674" r:id="rId33"/>
    <p:sldLayoutId id="2147483658" r:id="rId34"/>
    <p:sldLayoutId id="2147483690" r:id="rId35"/>
    <p:sldLayoutId id="2147483683" r:id="rId36"/>
    <p:sldLayoutId id="2147483684" r:id="rId37"/>
    <p:sldLayoutId id="2147483685" r:id="rId38"/>
    <p:sldLayoutId id="2147483686" r:id="rId39"/>
    <p:sldLayoutId id="2147483687" r:id="rId40"/>
    <p:sldLayoutId id="2147483659" r:id="rId41"/>
    <p:sldLayoutId id="2147483696" r:id="rId42"/>
    <p:sldLayoutId id="2147483651" r:id="rId43"/>
    <p:sldLayoutId id="2147483653" r:id="rId44"/>
    <p:sldLayoutId id="2147483652" r:id="rId45"/>
    <p:sldLayoutId id="2147483691" r:id="rId46"/>
    <p:sldLayoutId id="2147483656" r:id="rId47"/>
    <p:sldLayoutId id="2147483655" r:id="rId48"/>
    <p:sldLayoutId id="2147483698" r:id="rId49"/>
    <p:sldLayoutId id="2147483675" r:id="rId50"/>
    <p:sldLayoutId id="2147483654" r:id="rId51"/>
  </p:sldLayoutIdLst>
  <p:timing>
    <p:tnLst>
      <p:par>
        <p:cTn id="1" dur="indefinite" restart="never" nodeType="tmRoot"/>
      </p:par>
    </p:tnLst>
  </p:timing>
  <p:txStyles>
    <p:titleStyle>
      <a:lvl1pPr algn="l" defTabSz="914400" rtl="0" eaLnBrk="1" latinLnBrk="0" hangingPunct="1">
        <a:lnSpc>
          <a:spcPct val="90000"/>
        </a:lnSpc>
        <a:spcBef>
          <a:spcPct val="0"/>
        </a:spcBef>
        <a:buNone/>
        <a:defRPr sz="6000" kern="1200">
          <a:solidFill>
            <a:schemeClr val="bg1"/>
          </a:solidFill>
          <a:latin typeface="Ostrich Sans Medium" panose="02000508000000020004"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8.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589744" y="2109648"/>
            <a:ext cx="9179857" cy="1924469"/>
          </a:xfrm>
          <a:prstGeom prst="rect">
            <a:avLst/>
          </a:prstGeom>
          <a:no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a-IR" sz="2400" dirty="0" smtClean="0">
                <a:solidFill>
                  <a:schemeClr val="bg1"/>
                </a:solidFill>
                <a:latin typeface="+mj-lt"/>
                <a:ea typeface="Roboto Light" panose="02000000000000000000" pitchFamily="2" charset="0"/>
                <a:cs typeface="B Titr" panose="00000700000000000000" pitchFamily="2" charset="-78"/>
              </a:rPr>
              <a:t>روش کشف کلاهبرداری از طریق پردازش کلان داده در سیستم های پرداخت اعتباری</a:t>
            </a:r>
            <a:endParaRPr lang="en-US" sz="2400" dirty="0">
              <a:solidFill>
                <a:schemeClr val="bg1"/>
              </a:solidFill>
              <a:latin typeface="+mj-lt"/>
              <a:ea typeface="Roboto Light" panose="02000000000000000000" pitchFamily="2" charset="0"/>
              <a:cs typeface="B Titr" panose="00000700000000000000" pitchFamily="2" charset="-78"/>
            </a:endParaRPr>
          </a:p>
        </p:txBody>
      </p:sp>
      <p:sp>
        <p:nvSpPr>
          <p:cNvPr id="6" name="Title 1"/>
          <p:cNvSpPr txBox="1">
            <a:spLocks/>
          </p:cNvSpPr>
          <p:nvPr/>
        </p:nvSpPr>
        <p:spPr>
          <a:xfrm>
            <a:off x="1796043" y="2438964"/>
            <a:ext cx="8599914" cy="1172009"/>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endParaRPr lang="en-US" sz="3200" spc="-151" dirty="0">
              <a:solidFill>
                <a:schemeClr val="bg1"/>
              </a:solidFill>
              <a:latin typeface="Ostrich Sans Medium" panose="02000508000000020004" pitchFamily="50" charset="0"/>
              <a:ea typeface="Open Sans" panose="020B0606030504020204" pitchFamily="34" charset="0"/>
              <a:cs typeface="Open Sans" panose="020B0606030504020204" pitchFamily="34" charset="0"/>
            </a:endParaRPr>
          </a:p>
        </p:txBody>
      </p:sp>
      <p:grpSp>
        <p:nvGrpSpPr>
          <p:cNvPr id="10" name="Group 9"/>
          <p:cNvGrpSpPr/>
          <p:nvPr/>
        </p:nvGrpSpPr>
        <p:grpSpPr>
          <a:xfrm>
            <a:off x="2019300" y="4085408"/>
            <a:ext cx="8153400" cy="0"/>
            <a:chOff x="2019300" y="3714750"/>
            <a:chExt cx="8153400" cy="0"/>
          </a:xfrm>
        </p:grpSpPr>
        <p:cxnSp>
          <p:nvCxnSpPr>
            <p:cNvPr id="8" name="Straight Connector 7"/>
            <p:cNvCxnSpPr/>
            <p:nvPr/>
          </p:nvCxnSpPr>
          <p:spPr>
            <a:xfrm>
              <a:off x="2019300" y="3714750"/>
              <a:ext cx="318135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991350" y="3714750"/>
              <a:ext cx="318135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1953391" y="4295886"/>
            <a:ext cx="3247259" cy="523220"/>
          </a:xfrm>
          <a:prstGeom prst="rect">
            <a:avLst/>
          </a:prstGeom>
          <a:noFill/>
        </p:spPr>
        <p:txBody>
          <a:bodyPr wrap="square" rtlCol="0">
            <a:spAutoFit/>
          </a:bodyPr>
          <a:lstStyle/>
          <a:p>
            <a:pPr algn="r"/>
            <a:r>
              <a:rPr lang="fa-IR" sz="1400" dirty="0" smtClean="0">
                <a:solidFill>
                  <a:schemeClr val="bg1"/>
                </a:solidFill>
                <a:latin typeface="Open Sans" panose="020B0606030504020204" pitchFamily="34" charset="0"/>
                <a:ea typeface="Open Sans" panose="020B0606030504020204" pitchFamily="34" charset="0"/>
                <a:cs typeface="B Badr" panose="00000400000000000000" pitchFamily="2" charset="-78"/>
              </a:rPr>
              <a:t>محمد حسین مطیع بیرجندی</a:t>
            </a:r>
            <a:br>
              <a:rPr lang="fa-IR" sz="1400" dirty="0" smtClean="0">
                <a:solidFill>
                  <a:schemeClr val="bg1"/>
                </a:solidFill>
                <a:latin typeface="Open Sans" panose="020B0606030504020204" pitchFamily="34" charset="0"/>
                <a:ea typeface="Open Sans" panose="020B0606030504020204" pitchFamily="34" charset="0"/>
                <a:cs typeface="B Badr" panose="00000400000000000000" pitchFamily="2" charset="-78"/>
              </a:rPr>
            </a:br>
            <a:r>
              <a:rPr lang="fa-IR" sz="1400" dirty="0" smtClean="0">
                <a:solidFill>
                  <a:schemeClr val="bg1"/>
                </a:solidFill>
                <a:latin typeface="Open Sans" panose="020B0606030504020204" pitchFamily="34" charset="0"/>
                <a:ea typeface="Open Sans" panose="020B0606030504020204" pitchFamily="34" charset="0"/>
                <a:cs typeface="B Badr" panose="00000400000000000000" pitchFamily="2" charset="-78"/>
              </a:rPr>
              <a:t>بهار 1398</a:t>
            </a:r>
            <a:endParaRPr lang="en-US" sz="1400" dirty="0">
              <a:solidFill>
                <a:schemeClr val="bg1"/>
              </a:solidFill>
              <a:latin typeface="Open Sans" panose="020B0606030504020204" pitchFamily="34" charset="0"/>
              <a:ea typeface="Open Sans" panose="020B0606030504020204" pitchFamily="34" charset="0"/>
              <a:cs typeface="B Badr" panose="00000400000000000000" pitchFamily="2" charset="-78"/>
            </a:endParaRPr>
          </a:p>
        </p:txBody>
      </p:sp>
      <p:grpSp>
        <p:nvGrpSpPr>
          <p:cNvPr id="15" name="Group 14"/>
          <p:cNvGrpSpPr/>
          <p:nvPr/>
        </p:nvGrpSpPr>
        <p:grpSpPr>
          <a:xfrm>
            <a:off x="2019300" y="2038894"/>
            <a:ext cx="8153400" cy="0"/>
            <a:chOff x="2019300" y="3714750"/>
            <a:chExt cx="8153400" cy="0"/>
          </a:xfrm>
        </p:grpSpPr>
        <p:cxnSp>
          <p:nvCxnSpPr>
            <p:cNvPr id="16" name="Straight Connector 15"/>
            <p:cNvCxnSpPr/>
            <p:nvPr/>
          </p:nvCxnSpPr>
          <p:spPr>
            <a:xfrm>
              <a:off x="2019300" y="3714750"/>
              <a:ext cx="318135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991350" y="3714750"/>
              <a:ext cx="318135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nvSpPr>
        <p:spPr>
          <a:xfrm>
            <a:off x="6925441" y="4295886"/>
            <a:ext cx="3247259" cy="523220"/>
          </a:xfrm>
          <a:prstGeom prst="rect">
            <a:avLst/>
          </a:prstGeom>
          <a:noFill/>
        </p:spPr>
        <p:txBody>
          <a:bodyPr wrap="square" rtlCol="0">
            <a:spAutoFit/>
          </a:bodyPr>
          <a:lstStyle/>
          <a:p>
            <a:pPr algn="r"/>
            <a:r>
              <a:rPr lang="fa-IR" sz="1400" dirty="0">
                <a:solidFill>
                  <a:schemeClr val="bg1"/>
                </a:solidFill>
                <a:latin typeface="Open Sans" panose="020B0606030504020204" pitchFamily="34" charset="0"/>
                <a:ea typeface="Open Sans" panose="020B0606030504020204" pitchFamily="34" charset="0"/>
                <a:cs typeface="B Badr" panose="00000400000000000000" pitchFamily="2" charset="-78"/>
              </a:rPr>
              <a:t>دانشگاه تهران</a:t>
            </a:r>
            <a:br>
              <a:rPr lang="fa-IR" sz="1400" dirty="0">
                <a:solidFill>
                  <a:schemeClr val="bg1"/>
                </a:solidFill>
                <a:latin typeface="Open Sans" panose="020B0606030504020204" pitchFamily="34" charset="0"/>
                <a:ea typeface="Open Sans" panose="020B0606030504020204" pitchFamily="34" charset="0"/>
                <a:cs typeface="B Badr" panose="00000400000000000000" pitchFamily="2" charset="-78"/>
              </a:rPr>
            </a:br>
            <a:r>
              <a:rPr lang="fa-IR" sz="1400" dirty="0">
                <a:solidFill>
                  <a:schemeClr val="bg1"/>
                </a:solidFill>
                <a:latin typeface="Open Sans" panose="020B0606030504020204" pitchFamily="34" charset="0"/>
                <a:ea typeface="Open Sans" panose="020B0606030504020204" pitchFamily="34" charset="0"/>
                <a:cs typeface="B Badr" panose="00000400000000000000" pitchFamily="2" charset="-78"/>
              </a:rPr>
              <a:t>دانشکده </a:t>
            </a:r>
            <a:r>
              <a:rPr lang="fa-IR" sz="1400" dirty="0" smtClean="0">
                <a:solidFill>
                  <a:schemeClr val="bg1"/>
                </a:solidFill>
                <a:latin typeface="Open Sans" panose="020B0606030504020204" pitchFamily="34" charset="0"/>
                <a:ea typeface="Open Sans" panose="020B0606030504020204" pitchFamily="34" charset="0"/>
                <a:cs typeface="B Badr" panose="00000400000000000000" pitchFamily="2" charset="-78"/>
              </a:rPr>
              <a:t>مهندسی برق </a:t>
            </a:r>
            <a:r>
              <a:rPr lang="fa-IR" sz="1400" dirty="0">
                <a:solidFill>
                  <a:schemeClr val="bg1"/>
                </a:solidFill>
                <a:latin typeface="Open Sans" panose="020B0606030504020204" pitchFamily="34" charset="0"/>
                <a:ea typeface="Open Sans" panose="020B0606030504020204" pitchFamily="34" charset="0"/>
                <a:cs typeface="B Badr" panose="00000400000000000000" pitchFamily="2" charset="-78"/>
              </a:rPr>
              <a:t>و کامپیوتر</a:t>
            </a:r>
            <a:endParaRPr lang="en-US" sz="1400" dirty="0">
              <a:solidFill>
                <a:schemeClr val="bg1"/>
              </a:solidFill>
              <a:latin typeface="Open Sans" panose="020B0606030504020204" pitchFamily="34" charset="0"/>
              <a:ea typeface="Open Sans" panose="020B0606030504020204" pitchFamily="34" charset="0"/>
              <a:cs typeface="B Badr" panose="00000400000000000000" pitchFamily="2" charset="-78"/>
            </a:endParaRPr>
          </a:p>
        </p:txBody>
      </p:sp>
      <p:sp>
        <p:nvSpPr>
          <p:cNvPr id="2" name="Oval 1"/>
          <p:cNvSpPr/>
          <p:nvPr/>
        </p:nvSpPr>
        <p:spPr>
          <a:xfrm>
            <a:off x="5470379" y="3441451"/>
            <a:ext cx="1185332" cy="11853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3"/>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tretch>
            <a:fillRect/>
          </a:stretch>
        </p:blipFill>
        <p:spPr>
          <a:xfrm>
            <a:off x="5625703" y="3596775"/>
            <a:ext cx="874685" cy="874685"/>
          </a:xfrm>
        </p:spPr>
      </p:pic>
    </p:spTree>
    <p:extLst>
      <p:ext uri="{BB962C8B-B14F-4D97-AF65-F5344CB8AC3E}">
        <p14:creationId xmlns:p14="http://schemas.microsoft.com/office/powerpoint/2010/main" val="2631956919"/>
      </p:ext>
    </p:extLst>
  </p:cSld>
  <p:clrMapOvr>
    <a:masterClrMapping/>
  </p:clrMapOvr>
  <p:transition spd="slow">
    <p:push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639313" y="2186086"/>
            <a:ext cx="8550986" cy="4671914"/>
          </a:xfrm>
          <a:prstGeom prst="rect">
            <a:avLst/>
          </a:prstGeom>
          <a:solidFill>
            <a:schemeClr val="accent1"/>
          </a:solid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mj-lt"/>
              <a:ea typeface="Roboto Light" panose="02000000000000000000" pitchFamily="2" charset="0"/>
            </a:endParaRPr>
          </a:p>
        </p:txBody>
      </p:sp>
      <p:sp>
        <p:nvSpPr>
          <p:cNvPr id="42" name="Right Triangle 41"/>
          <p:cNvSpPr/>
          <p:nvPr/>
        </p:nvSpPr>
        <p:spPr>
          <a:xfrm rot="5400000" flipV="1">
            <a:off x="2470583" y="2156658"/>
            <a:ext cx="1153856" cy="1212713"/>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21" name="Rectangle 20"/>
          <p:cNvSpPr/>
          <p:nvPr/>
        </p:nvSpPr>
        <p:spPr>
          <a:xfrm>
            <a:off x="6955536" y="2410371"/>
            <a:ext cx="3750751" cy="584775"/>
          </a:xfrm>
          <a:prstGeom prst="rect">
            <a:avLst/>
          </a:prstGeom>
        </p:spPr>
        <p:txBody>
          <a:bodyPr wrap="square">
            <a:spAutoFit/>
          </a:bodyPr>
          <a:lstStyle/>
          <a:p>
            <a:pPr algn="r"/>
            <a:r>
              <a:rPr lang="fa-IR" sz="3200" noProof="1" smtClean="0">
                <a:solidFill>
                  <a:schemeClr val="bg1"/>
                </a:solidFill>
                <a:latin typeface="Ostrich Sans Medium" panose="02000508000000020004" pitchFamily="50" charset="0"/>
                <a:ea typeface="Open Sans" panose="020B0606030504020204" pitchFamily="34" charset="0"/>
                <a:cs typeface="B Titr" panose="00000700000000000000" pitchFamily="2" charset="-78"/>
              </a:rPr>
              <a:t>تعریف انواع کلاهبرداری</a:t>
            </a:r>
            <a:endParaRPr lang="en-US" sz="3200" noProof="1">
              <a:solidFill>
                <a:schemeClr val="bg1"/>
              </a:solidFill>
              <a:latin typeface="Ostrich Sans Medium" panose="02000508000000020004" pitchFamily="50" charset="0"/>
              <a:ea typeface="Open Sans" panose="020B0606030504020204" pitchFamily="34" charset="0"/>
              <a:cs typeface="B Titr" panose="00000700000000000000" pitchFamily="2" charset="-78"/>
            </a:endParaRPr>
          </a:p>
        </p:txBody>
      </p:sp>
      <p:sp>
        <p:nvSpPr>
          <p:cNvPr id="22" name="Rectangle 21"/>
          <p:cNvSpPr/>
          <p:nvPr/>
        </p:nvSpPr>
        <p:spPr>
          <a:xfrm>
            <a:off x="6803136" y="3034709"/>
            <a:ext cx="3903151" cy="276999"/>
          </a:xfrm>
          <a:prstGeom prst="rect">
            <a:avLst/>
          </a:prstGeom>
        </p:spPr>
        <p:txBody>
          <a:bodyPr wrap="square" anchor="ctr">
            <a:spAutoFit/>
          </a:bodyPr>
          <a:lstStyle/>
          <a:p>
            <a:pPr algn="r">
              <a:buClr>
                <a:srgbClr val="E24848"/>
              </a:buClr>
              <a:defRPr/>
            </a:pPr>
            <a:r>
              <a:rPr lang="fa-IR" sz="1200" noProof="1" smtClean="0">
                <a:solidFill>
                  <a:schemeClr val="bg1"/>
                </a:solidFill>
                <a:latin typeface="+mj-lt"/>
                <a:ea typeface="Roboto Light" panose="02000000000000000000" pitchFamily="2" charset="0"/>
                <a:cs typeface="B Narm" panose="00000400000000000000" pitchFamily="2" charset="-78"/>
              </a:rPr>
              <a:t>تعریف کلاهبرداری در صنعت بانکداری، بیمه و درمان</a:t>
            </a:r>
            <a:endParaRPr lang="en-US" sz="1200" noProof="1">
              <a:solidFill>
                <a:schemeClr val="bg1"/>
              </a:solidFill>
              <a:latin typeface="+mj-lt"/>
              <a:ea typeface="Roboto Light" panose="02000000000000000000" pitchFamily="2" charset="0"/>
              <a:cs typeface="B Narm" panose="00000400000000000000" pitchFamily="2" charset="-78"/>
            </a:endParaRPr>
          </a:p>
        </p:txBody>
      </p:sp>
      <p:sp>
        <p:nvSpPr>
          <p:cNvPr id="31" name="Title 1"/>
          <p:cNvSpPr txBox="1">
            <a:spLocks/>
          </p:cNvSpPr>
          <p:nvPr/>
        </p:nvSpPr>
        <p:spPr>
          <a:xfrm>
            <a:off x="10753050" y="2365678"/>
            <a:ext cx="1271257" cy="118190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l"/>
            <a:r>
              <a:rPr lang="en-US" sz="9600" b="1" spc="-151" dirty="0" smtClean="0">
                <a:solidFill>
                  <a:schemeClr val="bg1"/>
                </a:solidFill>
                <a:latin typeface="Ostrich Sans Medium" panose="02000508000000020004" pitchFamily="50" charset="0"/>
                <a:ea typeface="Open Sans" panose="020B0606030504020204" pitchFamily="34" charset="0"/>
                <a:cs typeface="Open Sans" panose="020B0606030504020204" pitchFamily="34" charset="0"/>
              </a:rPr>
              <a:t>1</a:t>
            </a:r>
            <a:endParaRPr lang="en-US" sz="9600" spc="-151" dirty="0">
              <a:solidFill>
                <a:schemeClr val="bg1"/>
              </a:solidFill>
              <a:latin typeface="Ostrich Sans Medium" panose="02000508000000020004" pitchFamily="50" charset="0"/>
              <a:ea typeface="Open Sans" panose="020B0606030504020204" pitchFamily="34" charset="0"/>
              <a:cs typeface="Open Sans" panose="020B0606030504020204" pitchFamily="34" charset="0"/>
            </a:endParaRPr>
          </a:p>
        </p:txBody>
      </p:sp>
      <p:sp>
        <p:nvSpPr>
          <p:cNvPr id="35" name="Rectangle 34"/>
          <p:cNvSpPr/>
          <p:nvPr/>
        </p:nvSpPr>
        <p:spPr>
          <a:xfrm>
            <a:off x="5767492" y="3905266"/>
            <a:ext cx="4938795" cy="584775"/>
          </a:xfrm>
          <a:prstGeom prst="rect">
            <a:avLst/>
          </a:prstGeom>
        </p:spPr>
        <p:txBody>
          <a:bodyPr wrap="square">
            <a:spAutoFit/>
          </a:bodyPr>
          <a:lstStyle/>
          <a:p>
            <a:pPr algn="r"/>
            <a:r>
              <a:rPr lang="fa-IR" sz="3200" noProof="1" smtClean="0">
                <a:solidFill>
                  <a:schemeClr val="bg1"/>
                </a:solidFill>
                <a:latin typeface="Ostrich Sans Medium" panose="02000508000000020004" pitchFamily="50" charset="0"/>
                <a:ea typeface="Open Sans" panose="020B0606030504020204" pitchFamily="34" charset="0"/>
                <a:cs typeface="B Titr" panose="00000700000000000000" pitchFamily="2" charset="-78"/>
              </a:rPr>
              <a:t>کلاهبرداری های بانکی</a:t>
            </a:r>
            <a:endParaRPr lang="en-US" sz="3200" noProof="1">
              <a:solidFill>
                <a:schemeClr val="bg1"/>
              </a:solidFill>
              <a:latin typeface="Ostrich Sans Medium" panose="02000508000000020004" pitchFamily="50" charset="0"/>
              <a:ea typeface="Open Sans" panose="020B0606030504020204" pitchFamily="34" charset="0"/>
              <a:cs typeface="B Titr" panose="00000700000000000000" pitchFamily="2" charset="-78"/>
            </a:endParaRPr>
          </a:p>
        </p:txBody>
      </p:sp>
      <p:sp>
        <p:nvSpPr>
          <p:cNvPr id="36" name="Rectangle 35"/>
          <p:cNvSpPr/>
          <p:nvPr/>
        </p:nvSpPr>
        <p:spPr>
          <a:xfrm>
            <a:off x="6230112" y="4493310"/>
            <a:ext cx="4476175" cy="276999"/>
          </a:xfrm>
          <a:prstGeom prst="rect">
            <a:avLst/>
          </a:prstGeom>
        </p:spPr>
        <p:txBody>
          <a:bodyPr wrap="square" anchor="ctr">
            <a:spAutoFit/>
          </a:bodyPr>
          <a:lstStyle/>
          <a:p>
            <a:pPr algn="r">
              <a:buClr>
                <a:srgbClr val="E24848"/>
              </a:buClr>
              <a:defRPr/>
            </a:pPr>
            <a:r>
              <a:rPr lang="fa-IR" sz="1200" noProof="1" smtClean="0">
                <a:solidFill>
                  <a:schemeClr val="bg1"/>
                </a:solidFill>
                <a:latin typeface="+mj-lt"/>
                <a:ea typeface="Roboto Light" panose="02000000000000000000" pitchFamily="2" charset="0"/>
                <a:cs typeface="B Narm" panose="00000400000000000000" pitchFamily="2" charset="-78"/>
              </a:rPr>
              <a:t>روش های کلاهبرداری در صنعت بانکداری – کلاهبرداری در پرداخت اعتباری</a:t>
            </a:r>
            <a:endParaRPr lang="en-US" sz="1200" noProof="1">
              <a:solidFill>
                <a:schemeClr val="bg1"/>
              </a:solidFill>
              <a:latin typeface="+mj-lt"/>
              <a:ea typeface="Roboto Light" panose="02000000000000000000" pitchFamily="2" charset="0"/>
              <a:cs typeface="B Narm" panose="00000400000000000000" pitchFamily="2" charset="-78"/>
            </a:endParaRPr>
          </a:p>
        </p:txBody>
      </p:sp>
      <p:sp>
        <p:nvSpPr>
          <p:cNvPr id="37" name="Title 1"/>
          <p:cNvSpPr txBox="1">
            <a:spLocks/>
          </p:cNvSpPr>
          <p:nvPr/>
        </p:nvSpPr>
        <p:spPr>
          <a:xfrm>
            <a:off x="10753050" y="3824279"/>
            <a:ext cx="1271257" cy="118190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l"/>
            <a:r>
              <a:rPr lang="en-US" sz="9600" b="1" spc="-151" dirty="0" smtClean="0">
                <a:solidFill>
                  <a:schemeClr val="bg1"/>
                </a:solidFill>
                <a:latin typeface="Ostrich Sans Medium" panose="02000508000000020004" pitchFamily="50" charset="0"/>
                <a:ea typeface="Open Sans" panose="020B0606030504020204" pitchFamily="34" charset="0"/>
                <a:cs typeface="Open Sans" panose="020B0606030504020204" pitchFamily="34" charset="0"/>
              </a:rPr>
              <a:t>2</a:t>
            </a:r>
            <a:endParaRPr lang="en-US" sz="9600" spc="-151" dirty="0">
              <a:solidFill>
                <a:schemeClr val="bg1"/>
              </a:solidFill>
              <a:latin typeface="Ostrich Sans Medium" panose="02000508000000020004" pitchFamily="50" charset="0"/>
              <a:ea typeface="Open Sans" panose="020B0606030504020204" pitchFamily="34" charset="0"/>
              <a:cs typeface="Open Sans" panose="020B0606030504020204" pitchFamily="34" charset="0"/>
            </a:endParaRPr>
          </a:p>
        </p:txBody>
      </p:sp>
      <p:sp>
        <p:nvSpPr>
          <p:cNvPr id="39" name="Rectangle 38"/>
          <p:cNvSpPr/>
          <p:nvPr/>
        </p:nvSpPr>
        <p:spPr>
          <a:xfrm>
            <a:off x="3511296" y="5363866"/>
            <a:ext cx="7194989" cy="584775"/>
          </a:xfrm>
          <a:prstGeom prst="rect">
            <a:avLst/>
          </a:prstGeom>
        </p:spPr>
        <p:txBody>
          <a:bodyPr wrap="square">
            <a:spAutoFit/>
          </a:bodyPr>
          <a:lstStyle/>
          <a:p>
            <a:pPr algn="r"/>
            <a:r>
              <a:rPr lang="fa-IR" sz="3200" dirty="0">
                <a:solidFill>
                  <a:schemeClr val="bg1"/>
                </a:solidFill>
                <a:latin typeface="Ostrich Sans Medium" panose="02000508000000020004" pitchFamily="50" charset="0"/>
                <a:ea typeface="Open Sans" panose="020B0606030504020204" pitchFamily="34" charset="0"/>
                <a:cs typeface="B Titr" panose="00000700000000000000" pitchFamily="2" charset="-78"/>
              </a:rPr>
              <a:t>روش های تشخیص </a:t>
            </a:r>
            <a:r>
              <a:rPr lang="fa-IR" sz="3200" dirty="0" smtClean="0">
                <a:solidFill>
                  <a:schemeClr val="bg1"/>
                </a:solidFill>
                <a:latin typeface="Ostrich Sans Medium" panose="02000508000000020004" pitchFamily="50" charset="0"/>
                <a:ea typeface="Open Sans" panose="020B0606030504020204" pitchFamily="34" charset="0"/>
                <a:cs typeface="B Titr" panose="00000700000000000000" pitchFamily="2" charset="-78"/>
              </a:rPr>
              <a:t>کلاهبرداری </a:t>
            </a:r>
            <a:r>
              <a:rPr lang="fa-IR" sz="3200" dirty="0">
                <a:solidFill>
                  <a:schemeClr val="bg1"/>
                </a:solidFill>
                <a:latin typeface="Ostrich Sans Medium" panose="02000508000000020004" pitchFamily="50" charset="0"/>
                <a:ea typeface="Open Sans" panose="020B0606030504020204" pitchFamily="34" charset="0"/>
                <a:cs typeface="B Titr" panose="00000700000000000000" pitchFamily="2" charset="-78"/>
              </a:rPr>
              <a:t>پرداخت </a:t>
            </a:r>
            <a:r>
              <a:rPr lang="fa-IR" sz="3200" dirty="0" smtClean="0">
                <a:solidFill>
                  <a:schemeClr val="bg1"/>
                </a:solidFill>
                <a:latin typeface="Ostrich Sans Medium" panose="02000508000000020004" pitchFamily="50" charset="0"/>
                <a:ea typeface="Open Sans" panose="020B0606030504020204" pitchFamily="34" charset="0"/>
                <a:cs typeface="B Titr" panose="00000700000000000000" pitchFamily="2" charset="-78"/>
              </a:rPr>
              <a:t>اعتباری</a:t>
            </a:r>
            <a:endParaRPr lang="en-US" sz="3200" dirty="0">
              <a:solidFill>
                <a:schemeClr val="bg1"/>
              </a:solidFill>
              <a:latin typeface="Ostrich Sans Medium" panose="02000508000000020004" pitchFamily="50" charset="0"/>
              <a:ea typeface="Open Sans" panose="020B0606030504020204" pitchFamily="34" charset="0"/>
              <a:cs typeface="B Titr" panose="00000700000000000000" pitchFamily="2" charset="-78"/>
            </a:endParaRPr>
          </a:p>
        </p:txBody>
      </p:sp>
      <p:sp>
        <p:nvSpPr>
          <p:cNvPr id="40" name="Rectangle 39"/>
          <p:cNvSpPr/>
          <p:nvPr/>
        </p:nvSpPr>
        <p:spPr>
          <a:xfrm>
            <a:off x="7856798" y="5961910"/>
            <a:ext cx="2849487" cy="276999"/>
          </a:xfrm>
          <a:prstGeom prst="rect">
            <a:avLst/>
          </a:prstGeom>
        </p:spPr>
        <p:txBody>
          <a:bodyPr wrap="square" anchor="ctr">
            <a:spAutoFit/>
          </a:bodyPr>
          <a:lstStyle/>
          <a:p>
            <a:pPr algn="r">
              <a:buClr>
                <a:srgbClr val="E24848"/>
              </a:buClr>
              <a:defRPr/>
            </a:pPr>
            <a:r>
              <a:rPr lang="fa-IR" sz="1200" noProof="1" smtClean="0">
                <a:solidFill>
                  <a:schemeClr val="bg1"/>
                </a:solidFill>
                <a:latin typeface="+mj-lt"/>
                <a:ea typeface="Roboto Light" panose="02000000000000000000" pitchFamily="2" charset="0"/>
                <a:cs typeface="B Narm" panose="00000400000000000000" pitchFamily="2" charset="-78"/>
              </a:rPr>
              <a:t>راه حل ارائه شده</a:t>
            </a:r>
            <a:endParaRPr lang="en-US" sz="1200" noProof="1">
              <a:solidFill>
                <a:schemeClr val="bg1"/>
              </a:solidFill>
              <a:latin typeface="+mj-lt"/>
              <a:ea typeface="Roboto Light" panose="02000000000000000000" pitchFamily="2" charset="0"/>
              <a:cs typeface="B Narm" panose="00000400000000000000" pitchFamily="2" charset="-78"/>
            </a:endParaRPr>
          </a:p>
        </p:txBody>
      </p:sp>
      <p:sp>
        <p:nvSpPr>
          <p:cNvPr id="41" name="Title 1"/>
          <p:cNvSpPr txBox="1">
            <a:spLocks/>
          </p:cNvSpPr>
          <p:nvPr/>
        </p:nvSpPr>
        <p:spPr>
          <a:xfrm>
            <a:off x="10753050" y="5282879"/>
            <a:ext cx="1271257" cy="1181908"/>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l"/>
            <a:r>
              <a:rPr lang="en-US" sz="9600" b="1" spc="-151" dirty="0" smtClean="0">
                <a:solidFill>
                  <a:schemeClr val="bg1"/>
                </a:solidFill>
                <a:latin typeface="Ostrich Sans Medium" panose="02000508000000020004" pitchFamily="50" charset="0"/>
                <a:ea typeface="Open Sans" panose="020B0606030504020204" pitchFamily="34" charset="0"/>
                <a:cs typeface="Open Sans" panose="020B0606030504020204" pitchFamily="34" charset="0"/>
              </a:rPr>
              <a:t>3</a:t>
            </a:r>
            <a:endParaRPr lang="en-US" sz="9600" spc="-151" dirty="0">
              <a:solidFill>
                <a:schemeClr val="bg1"/>
              </a:solidFill>
              <a:latin typeface="Ostrich Sans Medium" panose="02000508000000020004" pitchFamily="50" charset="0"/>
              <a:ea typeface="Open Sans" panose="020B0606030504020204" pitchFamily="34" charset="0"/>
              <a:cs typeface="Open Sans" panose="020B0606030504020204" pitchFamily="34" charset="0"/>
            </a:endParaRPr>
          </a:p>
        </p:txBody>
      </p:sp>
      <p:cxnSp>
        <p:nvCxnSpPr>
          <p:cNvPr id="44" name="Straight Connector 43"/>
          <p:cNvCxnSpPr/>
          <p:nvPr/>
        </p:nvCxnSpPr>
        <p:spPr>
          <a:xfrm>
            <a:off x="6860128" y="3628573"/>
            <a:ext cx="476068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860128" y="5224823"/>
            <a:ext cx="476068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8921078" y="496415"/>
            <a:ext cx="2437720" cy="1323439"/>
          </a:xfrm>
          <a:prstGeom prst="rect">
            <a:avLst/>
          </a:prstGeom>
        </p:spPr>
        <p:txBody>
          <a:bodyPr wrap="square" anchor="ctr">
            <a:noAutofit/>
          </a:bodyPr>
          <a:lstStyle/>
          <a:p>
            <a:pPr algn="r" fontAlgn="base">
              <a:spcBef>
                <a:spcPct val="0"/>
              </a:spcBef>
              <a:spcAft>
                <a:spcPct val="0"/>
              </a:spcAft>
            </a:pPr>
            <a:r>
              <a:rPr lang="fa-IR" sz="4000" kern="0" spc="-151" dirty="0" smtClean="0">
                <a:solidFill>
                  <a:schemeClr val="bg1"/>
                </a:solidFill>
                <a:latin typeface="Ostrich Sans Medium" panose="02000508000000020004" pitchFamily="50" charset="0"/>
                <a:ea typeface="Open Sans" panose="020B0606030504020204" pitchFamily="34" charset="0"/>
                <a:cs typeface="B Titr" panose="00000700000000000000" pitchFamily="2" charset="-78"/>
              </a:rPr>
              <a:t>فهرست</a:t>
            </a:r>
            <a:endParaRPr lang="en-US" sz="4000" kern="0" spc="-151" dirty="0">
              <a:solidFill>
                <a:schemeClr val="bg1"/>
              </a:solidFill>
              <a:latin typeface="Ostrich Sans Medium" panose="02000508000000020004" pitchFamily="50" charset="0"/>
              <a:ea typeface="Open Sans" panose="020B0606030504020204" pitchFamily="34" charset="0"/>
              <a:cs typeface="B Titr" panose="00000700000000000000" pitchFamily="2" charset="-78"/>
            </a:endParaRPr>
          </a:p>
        </p:txBody>
      </p:sp>
    </p:spTree>
    <p:extLst>
      <p:ext uri="{BB962C8B-B14F-4D97-AF65-F5344CB8AC3E}">
        <p14:creationId xmlns:p14="http://schemas.microsoft.com/office/powerpoint/2010/main" val="221613384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2000"/>
                                        <p:tgtEl>
                                          <p:spTgt spid="31"/>
                                        </p:tgtEl>
                                      </p:cBhvr>
                                    </p:animEffect>
                                    <p:anim calcmode="lin" valueType="num">
                                      <p:cBhvr>
                                        <p:cTn id="8" dur="2000" fill="hold"/>
                                        <p:tgtEl>
                                          <p:spTgt spid="31"/>
                                        </p:tgtEl>
                                        <p:attrNameLst>
                                          <p:attrName>ppt_w</p:attrName>
                                        </p:attrNameLst>
                                      </p:cBhvr>
                                      <p:tavLst>
                                        <p:tav tm="0" fmla="#ppt_w*sin(2.5*pi*$)">
                                          <p:val>
                                            <p:fltVal val="0"/>
                                          </p:val>
                                        </p:tav>
                                        <p:tav tm="100000">
                                          <p:val>
                                            <p:fltVal val="1"/>
                                          </p:val>
                                        </p:tav>
                                      </p:tavLst>
                                    </p:anim>
                                    <p:anim calcmode="lin" valueType="num">
                                      <p:cBhvr>
                                        <p:cTn id="9" dur="2000" fill="hold"/>
                                        <p:tgtEl>
                                          <p:spTgt spid="31"/>
                                        </p:tgtEl>
                                        <p:attrNameLst>
                                          <p:attrName>ppt_h</p:attrName>
                                        </p:attrNameLst>
                                      </p:cBhvr>
                                      <p:tavLst>
                                        <p:tav tm="0">
                                          <p:val>
                                            <p:strVal val="#ppt_h"/>
                                          </p:val>
                                        </p:tav>
                                        <p:tav tm="100000">
                                          <p:val>
                                            <p:strVal val="#ppt_h"/>
                                          </p:val>
                                        </p:tav>
                                      </p:tavLst>
                                    </p:anim>
                                  </p:childTnLst>
                                </p:cTn>
                              </p:par>
                            </p:childTnLst>
                          </p:cTn>
                        </p:par>
                        <p:par>
                          <p:cTn id="10" fill="hold">
                            <p:stCondLst>
                              <p:cond delay="2000"/>
                            </p:stCondLst>
                            <p:childTnLst>
                              <p:par>
                                <p:cTn id="11" presetID="18" presetClass="entr" presetSubtype="12" fill="hold" grpId="0" nodeType="after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strips(downLeft)">
                                      <p:cBhvr>
                                        <p:cTn id="13" dur="2000"/>
                                        <p:tgtEl>
                                          <p:spTgt spid="21"/>
                                        </p:tgtEl>
                                      </p:cBhvr>
                                    </p:animEffect>
                                  </p:childTnLst>
                                </p:cTn>
                              </p:par>
                            </p:childTnLst>
                          </p:cTn>
                        </p:par>
                        <p:par>
                          <p:cTn id="14" fill="hold">
                            <p:stCondLst>
                              <p:cond delay="4000"/>
                            </p:stCondLst>
                            <p:childTnLst>
                              <p:par>
                                <p:cTn id="15" presetID="42" presetClass="entr" presetSubtype="0" fill="hold" grpId="0"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1000"/>
                                        <p:tgtEl>
                                          <p:spTgt spid="22"/>
                                        </p:tgtEl>
                                      </p:cBhvr>
                                    </p:animEffect>
                                    <p:anim calcmode="lin" valueType="num">
                                      <p:cBhvr>
                                        <p:cTn id="18" dur="1000" fill="hold"/>
                                        <p:tgtEl>
                                          <p:spTgt spid="22"/>
                                        </p:tgtEl>
                                        <p:attrNameLst>
                                          <p:attrName>ppt_x</p:attrName>
                                        </p:attrNameLst>
                                      </p:cBhvr>
                                      <p:tavLst>
                                        <p:tav tm="0">
                                          <p:val>
                                            <p:strVal val="#ppt_x"/>
                                          </p:val>
                                        </p:tav>
                                        <p:tav tm="100000">
                                          <p:val>
                                            <p:strVal val="#ppt_x"/>
                                          </p:val>
                                        </p:tav>
                                      </p:tavLst>
                                    </p:anim>
                                    <p:anim calcmode="lin" valueType="num">
                                      <p:cBhvr>
                                        <p:cTn id="19" dur="1000" fill="hold"/>
                                        <p:tgtEl>
                                          <p:spTgt spid="22"/>
                                        </p:tgtEl>
                                        <p:attrNameLst>
                                          <p:attrName>ppt_y</p:attrName>
                                        </p:attrNameLst>
                                      </p:cBhvr>
                                      <p:tavLst>
                                        <p:tav tm="0">
                                          <p:val>
                                            <p:strVal val="#ppt_y+.1"/>
                                          </p:val>
                                        </p:tav>
                                        <p:tav tm="100000">
                                          <p:val>
                                            <p:strVal val="#ppt_y"/>
                                          </p:val>
                                        </p:tav>
                                      </p:tavLst>
                                    </p:anim>
                                  </p:childTnLst>
                                </p:cTn>
                              </p:par>
                            </p:childTnLst>
                          </p:cTn>
                        </p:par>
                        <p:par>
                          <p:cTn id="20" fill="hold">
                            <p:stCondLst>
                              <p:cond delay="5000"/>
                            </p:stCondLst>
                            <p:childTnLst>
                              <p:par>
                                <p:cTn id="21" presetID="45" presetClass="entr" presetSubtype="0" fill="hold" grpId="0"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2000"/>
                                        <p:tgtEl>
                                          <p:spTgt spid="37"/>
                                        </p:tgtEl>
                                      </p:cBhvr>
                                    </p:animEffect>
                                    <p:anim calcmode="lin" valueType="num">
                                      <p:cBhvr>
                                        <p:cTn id="24" dur="2000" fill="hold"/>
                                        <p:tgtEl>
                                          <p:spTgt spid="37"/>
                                        </p:tgtEl>
                                        <p:attrNameLst>
                                          <p:attrName>ppt_w</p:attrName>
                                        </p:attrNameLst>
                                      </p:cBhvr>
                                      <p:tavLst>
                                        <p:tav tm="0" fmla="#ppt_w*sin(2.5*pi*$)">
                                          <p:val>
                                            <p:fltVal val="0"/>
                                          </p:val>
                                        </p:tav>
                                        <p:tav tm="100000">
                                          <p:val>
                                            <p:fltVal val="1"/>
                                          </p:val>
                                        </p:tav>
                                      </p:tavLst>
                                    </p:anim>
                                    <p:anim calcmode="lin" valueType="num">
                                      <p:cBhvr>
                                        <p:cTn id="25" dur="2000" fill="hold"/>
                                        <p:tgtEl>
                                          <p:spTgt spid="37"/>
                                        </p:tgtEl>
                                        <p:attrNameLst>
                                          <p:attrName>ppt_h</p:attrName>
                                        </p:attrNameLst>
                                      </p:cBhvr>
                                      <p:tavLst>
                                        <p:tav tm="0">
                                          <p:val>
                                            <p:strVal val="#ppt_h"/>
                                          </p:val>
                                        </p:tav>
                                        <p:tav tm="100000">
                                          <p:val>
                                            <p:strVal val="#ppt_h"/>
                                          </p:val>
                                        </p:tav>
                                      </p:tavLst>
                                    </p:anim>
                                  </p:childTnLst>
                                </p:cTn>
                              </p:par>
                            </p:childTnLst>
                          </p:cTn>
                        </p:par>
                        <p:par>
                          <p:cTn id="26" fill="hold">
                            <p:stCondLst>
                              <p:cond delay="7000"/>
                            </p:stCondLst>
                            <p:childTnLst>
                              <p:par>
                                <p:cTn id="27" presetID="5" presetClass="entr" presetSubtype="10" fill="hold" grpId="0" nodeType="after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checkerboard(across)">
                                      <p:cBhvr>
                                        <p:cTn id="29" dur="2000"/>
                                        <p:tgtEl>
                                          <p:spTgt spid="35"/>
                                        </p:tgtEl>
                                      </p:cBhvr>
                                    </p:animEffect>
                                  </p:childTnLst>
                                </p:cTn>
                              </p:par>
                            </p:childTnLst>
                          </p:cTn>
                        </p:par>
                        <p:par>
                          <p:cTn id="30" fill="hold">
                            <p:stCondLst>
                              <p:cond delay="9000"/>
                            </p:stCondLst>
                            <p:childTnLst>
                              <p:par>
                                <p:cTn id="31" presetID="42" presetClass="entr" presetSubtype="0" fill="hold" grpId="0" nodeType="after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1000"/>
                                        <p:tgtEl>
                                          <p:spTgt spid="36"/>
                                        </p:tgtEl>
                                      </p:cBhvr>
                                    </p:animEffect>
                                    <p:anim calcmode="lin" valueType="num">
                                      <p:cBhvr>
                                        <p:cTn id="34" dur="1000" fill="hold"/>
                                        <p:tgtEl>
                                          <p:spTgt spid="36"/>
                                        </p:tgtEl>
                                        <p:attrNameLst>
                                          <p:attrName>ppt_x</p:attrName>
                                        </p:attrNameLst>
                                      </p:cBhvr>
                                      <p:tavLst>
                                        <p:tav tm="0">
                                          <p:val>
                                            <p:strVal val="#ppt_x"/>
                                          </p:val>
                                        </p:tav>
                                        <p:tav tm="100000">
                                          <p:val>
                                            <p:strVal val="#ppt_x"/>
                                          </p:val>
                                        </p:tav>
                                      </p:tavLst>
                                    </p:anim>
                                    <p:anim calcmode="lin" valueType="num">
                                      <p:cBhvr>
                                        <p:cTn id="35" dur="1000" fill="hold"/>
                                        <p:tgtEl>
                                          <p:spTgt spid="36"/>
                                        </p:tgtEl>
                                        <p:attrNameLst>
                                          <p:attrName>ppt_y</p:attrName>
                                        </p:attrNameLst>
                                      </p:cBhvr>
                                      <p:tavLst>
                                        <p:tav tm="0">
                                          <p:val>
                                            <p:strVal val="#ppt_y+.1"/>
                                          </p:val>
                                        </p:tav>
                                        <p:tav tm="100000">
                                          <p:val>
                                            <p:strVal val="#ppt_y"/>
                                          </p:val>
                                        </p:tav>
                                      </p:tavLst>
                                    </p:anim>
                                  </p:childTnLst>
                                </p:cTn>
                              </p:par>
                            </p:childTnLst>
                          </p:cTn>
                        </p:par>
                        <p:par>
                          <p:cTn id="36" fill="hold">
                            <p:stCondLst>
                              <p:cond delay="10000"/>
                            </p:stCondLst>
                            <p:childTnLst>
                              <p:par>
                                <p:cTn id="37" presetID="45" presetClass="entr" presetSubtype="0" fill="hold" grpId="0" nodeType="afterEffect">
                                  <p:stCondLst>
                                    <p:cond delay="0"/>
                                  </p:stCondLst>
                                  <p:childTnLst>
                                    <p:set>
                                      <p:cBhvr>
                                        <p:cTn id="38" dur="1" fill="hold">
                                          <p:stCondLst>
                                            <p:cond delay="0"/>
                                          </p:stCondLst>
                                        </p:cTn>
                                        <p:tgtEl>
                                          <p:spTgt spid="41"/>
                                        </p:tgtEl>
                                        <p:attrNameLst>
                                          <p:attrName>style.visibility</p:attrName>
                                        </p:attrNameLst>
                                      </p:cBhvr>
                                      <p:to>
                                        <p:strVal val="visible"/>
                                      </p:to>
                                    </p:set>
                                    <p:animEffect transition="in" filter="fade">
                                      <p:cBhvr>
                                        <p:cTn id="39" dur="2000"/>
                                        <p:tgtEl>
                                          <p:spTgt spid="41"/>
                                        </p:tgtEl>
                                      </p:cBhvr>
                                    </p:animEffect>
                                    <p:anim calcmode="lin" valueType="num">
                                      <p:cBhvr>
                                        <p:cTn id="40" dur="2000" fill="hold"/>
                                        <p:tgtEl>
                                          <p:spTgt spid="41"/>
                                        </p:tgtEl>
                                        <p:attrNameLst>
                                          <p:attrName>ppt_w</p:attrName>
                                        </p:attrNameLst>
                                      </p:cBhvr>
                                      <p:tavLst>
                                        <p:tav tm="0" fmla="#ppt_w*sin(2.5*pi*$)">
                                          <p:val>
                                            <p:fltVal val="0"/>
                                          </p:val>
                                        </p:tav>
                                        <p:tav tm="100000">
                                          <p:val>
                                            <p:fltVal val="1"/>
                                          </p:val>
                                        </p:tav>
                                      </p:tavLst>
                                    </p:anim>
                                    <p:anim calcmode="lin" valueType="num">
                                      <p:cBhvr>
                                        <p:cTn id="41" dur="2000" fill="hold"/>
                                        <p:tgtEl>
                                          <p:spTgt spid="41"/>
                                        </p:tgtEl>
                                        <p:attrNameLst>
                                          <p:attrName>ppt_h</p:attrName>
                                        </p:attrNameLst>
                                      </p:cBhvr>
                                      <p:tavLst>
                                        <p:tav tm="0">
                                          <p:val>
                                            <p:strVal val="#ppt_h"/>
                                          </p:val>
                                        </p:tav>
                                        <p:tav tm="100000">
                                          <p:val>
                                            <p:strVal val="#ppt_h"/>
                                          </p:val>
                                        </p:tav>
                                      </p:tavLst>
                                    </p:anim>
                                  </p:childTnLst>
                                </p:cTn>
                              </p:par>
                            </p:childTnLst>
                          </p:cTn>
                        </p:par>
                        <p:par>
                          <p:cTn id="42" fill="hold">
                            <p:stCondLst>
                              <p:cond delay="12000"/>
                            </p:stCondLst>
                            <p:childTnLst>
                              <p:par>
                                <p:cTn id="43" presetID="5" presetClass="entr" presetSubtype="10" fill="hold" grpId="0" nodeType="afterEffect">
                                  <p:stCondLst>
                                    <p:cond delay="0"/>
                                  </p:stCondLst>
                                  <p:childTnLst>
                                    <p:set>
                                      <p:cBhvr>
                                        <p:cTn id="44" dur="1" fill="hold">
                                          <p:stCondLst>
                                            <p:cond delay="0"/>
                                          </p:stCondLst>
                                        </p:cTn>
                                        <p:tgtEl>
                                          <p:spTgt spid="39"/>
                                        </p:tgtEl>
                                        <p:attrNameLst>
                                          <p:attrName>style.visibility</p:attrName>
                                        </p:attrNameLst>
                                      </p:cBhvr>
                                      <p:to>
                                        <p:strVal val="visible"/>
                                      </p:to>
                                    </p:set>
                                    <p:animEffect transition="in" filter="checkerboard(across)">
                                      <p:cBhvr>
                                        <p:cTn id="45" dur="2000"/>
                                        <p:tgtEl>
                                          <p:spTgt spid="39"/>
                                        </p:tgtEl>
                                      </p:cBhvr>
                                    </p:animEffect>
                                  </p:childTnLst>
                                </p:cTn>
                              </p:par>
                            </p:childTnLst>
                          </p:cTn>
                        </p:par>
                        <p:par>
                          <p:cTn id="46" fill="hold">
                            <p:stCondLst>
                              <p:cond delay="14000"/>
                            </p:stCondLst>
                            <p:childTnLst>
                              <p:par>
                                <p:cTn id="47" presetID="42" presetClass="entr" presetSubtype="0" fill="hold" grpId="0" nodeType="after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1000"/>
                                        <p:tgtEl>
                                          <p:spTgt spid="40"/>
                                        </p:tgtEl>
                                      </p:cBhvr>
                                    </p:animEffect>
                                    <p:anim calcmode="lin" valueType="num">
                                      <p:cBhvr>
                                        <p:cTn id="50" dur="1000" fill="hold"/>
                                        <p:tgtEl>
                                          <p:spTgt spid="40"/>
                                        </p:tgtEl>
                                        <p:attrNameLst>
                                          <p:attrName>ppt_x</p:attrName>
                                        </p:attrNameLst>
                                      </p:cBhvr>
                                      <p:tavLst>
                                        <p:tav tm="0">
                                          <p:val>
                                            <p:strVal val="#ppt_x"/>
                                          </p:val>
                                        </p:tav>
                                        <p:tav tm="100000">
                                          <p:val>
                                            <p:strVal val="#ppt_x"/>
                                          </p:val>
                                        </p:tav>
                                      </p:tavLst>
                                    </p:anim>
                                    <p:anim calcmode="lin" valueType="num">
                                      <p:cBhvr>
                                        <p:cTn id="51"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31" grpId="0"/>
      <p:bldP spid="35" grpId="0"/>
      <p:bldP spid="36" grpId="0"/>
      <p:bldP spid="37" grpId="0"/>
      <p:bldP spid="39" grpId="0"/>
      <p:bldP spid="40" grpId="0"/>
      <p:bldP spid="4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183313" y="137755"/>
            <a:ext cx="585945" cy="446111"/>
            <a:chOff x="1749703" y="2330672"/>
            <a:chExt cx="585945" cy="446111"/>
          </a:xfrm>
          <a:solidFill>
            <a:srgbClr val="40BAB1"/>
          </a:solidFill>
        </p:grpSpPr>
        <p:sp>
          <p:nvSpPr>
            <p:cNvPr id="26" name="Right Triangle 25"/>
            <p:cNvSpPr/>
            <p:nvPr/>
          </p:nvSpPr>
          <p:spPr>
            <a:xfrm flipV="1">
              <a:off x="1976024" y="2330672"/>
              <a:ext cx="359624" cy="377968"/>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Lato Light" panose="020F0402020204030203" pitchFamily="34" charset="0"/>
                <a:cs typeface="Lato Light" panose="020F0402020204030203" pitchFamily="34" charset="0"/>
              </a:endParaRPr>
            </a:p>
          </p:txBody>
        </p:sp>
        <p:sp>
          <p:nvSpPr>
            <p:cNvPr id="27" name="Rectangle 26"/>
            <p:cNvSpPr/>
            <p:nvPr/>
          </p:nvSpPr>
          <p:spPr>
            <a:xfrm>
              <a:off x="1749703" y="2330672"/>
              <a:ext cx="446111" cy="446111"/>
            </a:xfrm>
            <a:prstGeom prst="rect">
              <a:avLst/>
            </a:prstGeom>
            <a:solidFill>
              <a:schemeClr val="accent1"/>
            </a:solid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bg1"/>
                </a:solidFill>
                <a:latin typeface="Lato Light" panose="020F0402020204030203" pitchFamily="34" charset="0"/>
                <a:ea typeface="Roboto Light" panose="02000000000000000000" pitchFamily="2" charset="0"/>
                <a:cs typeface="Lato Light" panose="020F0402020204030203" pitchFamily="34" charset="0"/>
              </a:endParaRPr>
            </a:p>
          </p:txBody>
        </p:sp>
      </p:grpSp>
      <p:sp>
        <p:nvSpPr>
          <p:cNvPr id="28" name="Slide Number Placeholder 27"/>
          <p:cNvSpPr>
            <a:spLocks noGrp="1"/>
          </p:cNvSpPr>
          <p:nvPr>
            <p:ph type="sldNum" sz="quarter" idx="12"/>
          </p:nvPr>
        </p:nvSpPr>
        <p:spPr/>
        <p:txBody>
          <a:bodyPr/>
          <a:lstStyle/>
          <a:p>
            <a:fld id="{32ECD629-4DA5-4EAE-B174-69948CAAE2CE}" type="slidenum">
              <a:rPr lang="en-US" smtClean="0"/>
              <a:t>3</a:t>
            </a:fld>
            <a:endParaRPr lang="en-US"/>
          </a:p>
        </p:txBody>
      </p:sp>
      <p:sp>
        <p:nvSpPr>
          <p:cNvPr id="31" name="Rectangle 30"/>
          <p:cNvSpPr/>
          <p:nvPr>
            <p:custDataLst>
              <p:tags r:id="rId1"/>
            </p:custDataLst>
          </p:nvPr>
        </p:nvSpPr>
        <p:spPr>
          <a:xfrm>
            <a:off x="5531536" y="5039998"/>
            <a:ext cx="3801155" cy="510189"/>
          </a:xfrm>
          <a:prstGeom prst="rect">
            <a:avLst/>
          </a:prstGeom>
          <a:gradFill flip="none" rotWithShape="1">
            <a:gsLst>
              <a:gs pos="0">
                <a:schemeClr val="tx1">
                  <a:alpha val="20000"/>
                </a:schemeClr>
              </a:gs>
              <a:gs pos="100000">
                <a:schemeClr val="tx1">
                  <a:lumMod val="0"/>
                  <a:lumOff val="100000"/>
                  <a:alpha val="0"/>
                </a:schemeClr>
              </a:gs>
            </a:gsLst>
            <a:path path="shap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Title 1"/>
          <p:cNvSpPr txBox="1">
            <a:spLocks/>
          </p:cNvSpPr>
          <p:nvPr/>
        </p:nvSpPr>
        <p:spPr>
          <a:xfrm>
            <a:off x="6614160" y="784974"/>
            <a:ext cx="4646619" cy="154538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r" rtl="1">
              <a:lnSpc>
                <a:spcPct val="70000"/>
              </a:lnSpc>
            </a:pPr>
            <a:r>
              <a:rPr lang="fa-IR" sz="4000" b="1" dirty="0" smtClean="0">
                <a:solidFill>
                  <a:schemeClr val="bg1"/>
                </a:solidFill>
                <a:latin typeface="Ostrich Sans Medium" panose="02000508000000020004" pitchFamily="50" charset="0"/>
                <a:ea typeface="Open Sans" panose="020B0606030504020204" pitchFamily="34" charset="0"/>
                <a:cs typeface="B Titr" panose="00000700000000000000" pitchFamily="2" charset="-78"/>
              </a:rPr>
              <a:t>تعریف انواع کلاهبرداری</a:t>
            </a:r>
            <a:endParaRPr lang="en-US" sz="4000" dirty="0">
              <a:solidFill>
                <a:schemeClr val="bg1"/>
              </a:solidFill>
              <a:latin typeface="Ostrich Sans Medium" panose="02000508000000020004" pitchFamily="50" charset="0"/>
              <a:ea typeface="Open Sans" panose="020B0606030504020204" pitchFamily="34" charset="0"/>
              <a:cs typeface="B Titr" panose="00000700000000000000" pitchFamily="2" charset="-78"/>
            </a:endParaRPr>
          </a:p>
        </p:txBody>
      </p:sp>
      <p:sp>
        <p:nvSpPr>
          <p:cNvPr id="33" name="Rectangle 32"/>
          <p:cNvSpPr/>
          <p:nvPr/>
        </p:nvSpPr>
        <p:spPr>
          <a:xfrm>
            <a:off x="6080076" y="2251615"/>
            <a:ext cx="4909287" cy="983357"/>
          </a:xfrm>
          <a:prstGeom prst="rect">
            <a:avLst/>
          </a:prstGeom>
        </p:spPr>
        <p:txBody>
          <a:bodyPr wrap="square">
            <a:noAutofit/>
          </a:bodyPr>
          <a:lstStyle/>
          <a:p>
            <a:pPr algn="r" rtl="1">
              <a:buClr>
                <a:srgbClr val="E24848"/>
              </a:buClr>
              <a:defRPr/>
            </a:pPr>
            <a:r>
              <a:rPr lang="fa-IR" sz="1400" noProof="1" smtClean="0">
                <a:solidFill>
                  <a:schemeClr val="bg1"/>
                </a:solidFill>
                <a:latin typeface="+mj-lt"/>
                <a:ea typeface="Open Sans Light" panose="020B0306030504020204" pitchFamily="34" charset="0"/>
                <a:cs typeface="B Nazanin" panose="00000400000000000000" pitchFamily="2" charset="-78"/>
              </a:rPr>
              <a:t>تعریف </a:t>
            </a:r>
            <a:r>
              <a:rPr lang="en-US" sz="1400" noProof="1" smtClean="0">
                <a:solidFill>
                  <a:schemeClr val="bg1"/>
                </a:solidFill>
                <a:latin typeface="+mj-lt"/>
                <a:ea typeface="Open Sans Light" panose="020B0306030504020204" pitchFamily="34" charset="0"/>
                <a:cs typeface="B Nazanin" panose="00000400000000000000" pitchFamily="2" charset="-78"/>
              </a:rPr>
              <a:t>CIPFA</a:t>
            </a:r>
            <a:r>
              <a:rPr lang="fa-IR" sz="1400" noProof="1" smtClean="0">
                <a:solidFill>
                  <a:schemeClr val="bg1"/>
                </a:solidFill>
                <a:latin typeface="+mj-lt"/>
                <a:ea typeface="Open Sans Light" panose="020B0306030504020204" pitchFamily="34" charset="0"/>
                <a:cs typeface="B Nazanin" panose="00000400000000000000" pitchFamily="2" charset="-78"/>
              </a:rPr>
              <a:t> : هر نوع ارائه کذب اطلاعات بطور عمدی، از جمله عدم اعلام اطلاعات صحیح و یا سوء استفاده از موقعیتی که در آن فرد مذکور سود و منفعت بدست می آورد و باعث ضرر کردن سایر افراد درسیستم و یا قرار گرفتن دیگران در معرض خطر ضرر کردن می شود.</a:t>
            </a:r>
            <a:endParaRPr lang="en-US" sz="1400" noProof="1">
              <a:solidFill>
                <a:schemeClr val="bg1"/>
              </a:solidFill>
              <a:latin typeface="+mj-lt"/>
              <a:ea typeface="Open Sans Light" panose="020B0306030504020204" pitchFamily="34" charset="0"/>
              <a:cs typeface="B Nazanin" panose="00000400000000000000" pitchFamily="2" charset="-78"/>
            </a:endParaRPr>
          </a:p>
        </p:txBody>
      </p:sp>
      <p:grpSp>
        <p:nvGrpSpPr>
          <p:cNvPr id="34" name="Group 33"/>
          <p:cNvGrpSpPr/>
          <p:nvPr/>
        </p:nvGrpSpPr>
        <p:grpSpPr>
          <a:xfrm>
            <a:off x="2201537" y="2059645"/>
            <a:ext cx="3704293" cy="3208208"/>
            <a:chOff x="6091845" y="1475232"/>
            <a:chExt cx="3704293" cy="3208208"/>
          </a:xfrm>
        </p:grpSpPr>
        <p:sp>
          <p:nvSpPr>
            <p:cNvPr id="35" name="Freeform 11"/>
            <p:cNvSpPr>
              <a:spLocks/>
            </p:cNvSpPr>
            <p:nvPr/>
          </p:nvSpPr>
          <p:spPr bwMode="auto">
            <a:xfrm>
              <a:off x="6933258" y="1475233"/>
              <a:ext cx="1918241" cy="1940520"/>
            </a:xfrm>
            <a:custGeom>
              <a:avLst/>
              <a:gdLst>
                <a:gd name="T0" fmla="*/ 5165 w 5165"/>
                <a:gd name="T1" fmla="*/ 4233 h 5225"/>
                <a:gd name="T2" fmla="*/ 2722 w 5165"/>
                <a:gd name="T3" fmla="*/ 0 h 5225"/>
                <a:gd name="T4" fmla="*/ 0 w 5165"/>
                <a:gd name="T5" fmla="*/ 4713 h 5225"/>
                <a:gd name="T6" fmla="*/ 943 w 5165"/>
                <a:gd name="T7" fmla="*/ 4899 h 5225"/>
                <a:gd name="T8" fmla="*/ 1947 w 5165"/>
                <a:gd name="T9" fmla="*/ 5121 h 5225"/>
                <a:gd name="T10" fmla="*/ 2722 w 5165"/>
                <a:gd name="T11" fmla="*/ 3779 h 5225"/>
                <a:gd name="T12" fmla="*/ 3555 w 5165"/>
                <a:gd name="T13" fmla="*/ 5225 h 5225"/>
                <a:gd name="T14" fmla="*/ 4653 w 5165"/>
                <a:gd name="T15" fmla="*/ 5196 h 5225"/>
                <a:gd name="T16" fmla="*/ 5165 w 5165"/>
                <a:gd name="T17" fmla="*/ 4233 h 5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65" h="5225">
                  <a:moveTo>
                    <a:pt x="5165" y="4233"/>
                  </a:moveTo>
                  <a:lnTo>
                    <a:pt x="2722" y="0"/>
                  </a:lnTo>
                  <a:lnTo>
                    <a:pt x="0" y="4713"/>
                  </a:lnTo>
                  <a:lnTo>
                    <a:pt x="943" y="4899"/>
                  </a:lnTo>
                  <a:lnTo>
                    <a:pt x="1947" y="5121"/>
                  </a:lnTo>
                  <a:lnTo>
                    <a:pt x="2722" y="3779"/>
                  </a:lnTo>
                  <a:lnTo>
                    <a:pt x="3555" y="5225"/>
                  </a:lnTo>
                  <a:lnTo>
                    <a:pt x="4653" y="5196"/>
                  </a:lnTo>
                  <a:lnTo>
                    <a:pt x="5165" y="4233"/>
                  </a:lnTo>
                  <a:close/>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p>
              <a:endParaRPr lang="id-ID" sz="11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12"/>
            <p:cNvSpPr>
              <a:spLocks/>
            </p:cNvSpPr>
            <p:nvPr/>
          </p:nvSpPr>
          <p:spPr bwMode="auto">
            <a:xfrm>
              <a:off x="6091846" y="3116468"/>
              <a:ext cx="1910815" cy="1566972"/>
            </a:xfrm>
            <a:custGeom>
              <a:avLst/>
              <a:gdLst>
                <a:gd name="T0" fmla="*/ 5086 w 5146"/>
                <a:gd name="T1" fmla="*/ 4220 h 4220"/>
                <a:gd name="T2" fmla="*/ 4325 w 5146"/>
                <a:gd name="T3" fmla="*/ 3287 h 4220"/>
                <a:gd name="T4" fmla="*/ 5146 w 5146"/>
                <a:gd name="T5" fmla="*/ 2342 h 4220"/>
                <a:gd name="T6" fmla="*/ 3266 w 5146"/>
                <a:gd name="T7" fmla="*/ 2342 h 4220"/>
                <a:gd name="T8" fmla="*/ 4214 w 5146"/>
                <a:gd name="T9" fmla="*/ 701 h 4220"/>
                <a:gd name="T10" fmla="*/ 3468 w 5146"/>
                <a:gd name="T11" fmla="*/ 0 h 4220"/>
                <a:gd name="T12" fmla="*/ 2359 w 5146"/>
                <a:gd name="T13" fmla="*/ 133 h 4220"/>
                <a:gd name="T14" fmla="*/ 0 w 5146"/>
                <a:gd name="T15" fmla="*/ 4220 h 4220"/>
                <a:gd name="T16" fmla="*/ 5086 w 5146"/>
                <a:gd name="T17" fmla="*/ 4220 h 4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6" h="4220">
                  <a:moveTo>
                    <a:pt x="5086" y="4220"/>
                  </a:moveTo>
                  <a:lnTo>
                    <a:pt x="4325" y="3287"/>
                  </a:lnTo>
                  <a:lnTo>
                    <a:pt x="5146" y="2342"/>
                  </a:lnTo>
                  <a:lnTo>
                    <a:pt x="3266" y="2342"/>
                  </a:lnTo>
                  <a:lnTo>
                    <a:pt x="4214" y="701"/>
                  </a:lnTo>
                  <a:lnTo>
                    <a:pt x="3468" y="0"/>
                  </a:lnTo>
                  <a:lnTo>
                    <a:pt x="2359" y="133"/>
                  </a:lnTo>
                  <a:lnTo>
                    <a:pt x="0" y="4220"/>
                  </a:lnTo>
                  <a:lnTo>
                    <a:pt x="5086" y="4220"/>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bodyPr>
            <a:lstStyle/>
            <a:p>
              <a:endParaRPr lang="id-ID" sz="11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13"/>
            <p:cNvSpPr>
              <a:spLocks/>
            </p:cNvSpPr>
            <p:nvPr/>
          </p:nvSpPr>
          <p:spPr bwMode="auto">
            <a:xfrm>
              <a:off x="7698178" y="2997646"/>
              <a:ext cx="2097960" cy="1685794"/>
            </a:xfrm>
            <a:custGeom>
              <a:avLst/>
              <a:gdLst>
                <a:gd name="T0" fmla="*/ 3030 w 5651"/>
                <a:gd name="T1" fmla="*/ 0 h 4541"/>
                <a:gd name="T2" fmla="*/ 2571 w 5651"/>
                <a:gd name="T3" fmla="*/ 952 h 4541"/>
                <a:gd name="T4" fmla="*/ 1437 w 5651"/>
                <a:gd name="T5" fmla="*/ 1022 h 4541"/>
                <a:gd name="T6" fmla="*/ 2385 w 5651"/>
                <a:gd name="T7" fmla="*/ 2663 h 4541"/>
                <a:gd name="T8" fmla="*/ 821 w 5651"/>
                <a:gd name="T9" fmla="*/ 2663 h 4541"/>
                <a:gd name="T10" fmla="*/ 0 w 5651"/>
                <a:gd name="T11" fmla="*/ 3608 h 4541"/>
                <a:gd name="T12" fmla="*/ 761 w 5651"/>
                <a:gd name="T13" fmla="*/ 4541 h 4541"/>
                <a:gd name="T14" fmla="*/ 5651 w 5651"/>
                <a:gd name="T15" fmla="*/ 4541 h 4541"/>
                <a:gd name="T16" fmla="*/ 3030 w 5651"/>
                <a:gd name="T17" fmla="*/ 0 h 4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51" h="4541">
                  <a:moveTo>
                    <a:pt x="3030" y="0"/>
                  </a:moveTo>
                  <a:lnTo>
                    <a:pt x="2571" y="952"/>
                  </a:lnTo>
                  <a:lnTo>
                    <a:pt x="1437" y="1022"/>
                  </a:lnTo>
                  <a:lnTo>
                    <a:pt x="2385" y="2663"/>
                  </a:lnTo>
                  <a:lnTo>
                    <a:pt x="821" y="2663"/>
                  </a:lnTo>
                  <a:lnTo>
                    <a:pt x="0" y="3608"/>
                  </a:lnTo>
                  <a:lnTo>
                    <a:pt x="761" y="4541"/>
                  </a:lnTo>
                  <a:lnTo>
                    <a:pt x="5651" y="4541"/>
                  </a:lnTo>
                  <a:lnTo>
                    <a:pt x="3030" y="0"/>
                  </a:lnTo>
                  <a:close/>
                </a:path>
              </a:pathLst>
            </a:custGeom>
            <a:solidFill>
              <a:schemeClr val="tx1">
                <a:lumMod val="65000"/>
                <a:lumOff val="35000"/>
              </a:schemeClr>
            </a:solidFill>
            <a:ln>
              <a:noFill/>
            </a:ln>
            <a:effectLst/>
          </p:spPr>
          <p:txBody>
            <a:bodyPr vert="horz" wrap="square" lIns="91440" tIns="45720" rIns="91440" bIns="45720" numCol="1" anchor="t" anchorCtr="0" compatLnSpc="1">
              <a:prstTxWarp prst="textNoShape">
                <a:avLst/>
              </a:prstTxWarp>
            </a:bodyPr>
            <a:lstStyle/>
            <a:p>
              <a:endParaRPr lang="id-ID" sz="11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11"/>
            <p:cNvSpPr>
              <a:spLocks/>
            </p:cNvSpPr>
            <p:nvPr/>
          </p:nvSpPr>
          <p:spPr bwMode="auto">
            <a:xfrm>
              <a:off x="6956466" y="1475232"/>
              <a:ext cx="1867932" cy="1901866"/>
            </a:xfrm>
            <a:custGeom>
              <a:avLst/>
              <a:gdLst>
                <a:gd name="T0" fmla="*/ 5165 w 5165"/>
                <a:gd name="T1" fmla="*/ 4233 h 5225"/>
                <a:gd name="T2" fmla="*/ 2722 w 5165"/>
                <a:gd name="T3" fmla="*/ 0 h 5225"/>
                <a:gd name="T4" fmla="*/ 0 w 5165"/>
                <a:gd name="T5" fmla="*/ 4713 h 5225"/>
                <a:gd name="T6" fmla="*/ 943 w 5165"/>
                <a:gd name="T7" fmla="*/ 4899 h 5225"/>
                <a:gd name="T8" fmla="*/ 1947 w 5165"/>
                <a:gd name="T9" fmla="*/ 5121 h 5225"/>
                <a:gd name="T10" fmla="*/ 2722 w 5165"/>
                <a:gd name="T11" fmla="*/ 3779 h 5225"/>
                <a:gd name="T12" fmla="*/ 3555 w 5165"/>
                <a:gd name="T13" fmla="*/ 5225 h 5225"/>
                <a:gd name="T14" fmla="*/ 4653 w 5165"/>
                <a:gd name="T15" fmla="*/ 5196 h 5225"/>
                <a:gd name="T16" fmla="*/ 5165 w 5165"/>
                <a:gd name="T17" fmla="*/ 4233 h 5225"/>
                <a:gd name="connsiteX0" fmla="*/ 10000 w 10000"/>
                <a:gd name="connsiteY0" fmla="*/ 8101 h 10000"/>
                <a:gd name="connsiteX1" fmla="*/ 5270 w 10000"/>
                <a:gd name="connsiteY1" fmla="*/ 0 h 10000"/>
                <a:gd name="connsiteX2" fmla="*/ 134 w 10000"/>
                <a:gd name="connsiteY2" fmla="*/ 8686 h 10000"/>
                <a:gd name="connsiteX3" fmla="*/ 0 w 10000"/>
                <a:gd name="connsiteY3" fmla="*/ 9020 h 10000"/>
                <a:gd name="connsiteX4" fmla="*/ 1826 w 10000"/>
                <a:gd name="connsiteY4" fmla="*/ 9376 h 10000"/>
                <a:gd name="connsiteX5" fmla="*/ 3770 w 10000"/>
                <a:gd name="connsiteY5" fmla="*/ 9801 h 10000"/>
                <a:gd name="connsiteX6" fmla="*/ 5270 w 10000"/>
                <a:gd name="connsiteY6" fmla="*/ 7233 h 10000"/>
                <a:gd name="connsiteX7" fmla="*/ 6883 w 10000"/>
                <a:gd name="connsiteY7" fmla="*/ 10000 h 10000"/>
                <a:gd name="connsiteX8" fmla="*/ 9009 w 10000"/>
                <a:gd name="connsiteY8" fmla="*/ 9944 h 10000"/>
                <a:gd name="connsiteX9" fmla="*/ 10000 w 10000"/>
                <a:gd name="connsiteY9" fmla="*/ 8101 h 10000"/>
                <a:gd name="connsiteX0" fmla="*/ 10000 w 10000"/>
                <a:gd name="connsiteY0" fmla="*/ 8101 h 10000"/>
                <a:gd name="connsiteX1" fmla="*/ 5270 w 10000"/>
                <a:gd name="connsiteY1" fmla="*/ 0 h 10000"/>
                <a:gd name="connsiteX2" fmla="*/ 134 w 10000"/>
                <a:gd name="connsiteY2" fmla="*/ 8686 h 10000"/>
                <a:gd name="connsiteX3" fmla="*/ 0 w 10000"/>
                <a:gd name="connsiteY3" fmla="*/ 9020 h 10000"/>
                <a:gd name="connsiteX4" fmla="*/ 2306 w 10000"/>
                <a:gd name="connsiteY4" fmla="*/ 8400 h 10000"/>
                <a:gd name="connsiteX5" fmla="*/ 3770 w 10000"/>
                <a:gd name="connsiteY5" fmla="*/ 9801 h 10000"/>
                <a:gd name="connsiteX6" fmla="*/ 5270 w 10000"/>
                <a:gd name="connsiteY6" fmla="*/ 7233 h 10000"/>
                <a:gd name="connsiteX7" fmla="*/ 6883 w 10000"/>
                <a:gd name="connsiteY7" fmla="*/ 10000 h 10000"/>
                <a:gd name="connsiteX8" fmla="*/ 9009 w 10000"/>
                <a:gd name="connsiteY8" fmla="*/ 9944 h 10000"/>
                <a:gd name="connsiteX9" fmla="*/ 10000 w 10000"/>
                <a:gd name="connsiteY9" fmla="*/ 8101 h 10000"/>
                <a:gd name="connsiteX0" fmla="*/ 9879 w 9879"/>
                <a:gd name="connsiteY0" fmla="*/ 8101 h 10000"/>
                <a:gd name="connsiteX1" fmla="*/ 5149 w 9879"/>
                <a:gd name="connsiteY1" fmla="*/ 0 h 10000"/>
                <a:gd name="connsiteX2" fmla="*/ 13 w 9879"/>
                <a:gd name="connsiteY2" fmla="*/ 8686 h 10000"/>
                <a:gd name="connsiteX3" fmla="*/ 20 w 9879"/>
                <a:gd name="connsiteY3" fmla="*/ 8713 h 10000"/>
                <a:gd name="connsiteX4" fmla="*/ 2185 w 9879"/>
                <a:gd name="connsiteY4" fmla="*/ 8400 h 10000"/>
                <a:gd name="connsiteX5" fmla="*/ 3649 w 9879"/>
                <a:gd name="connsiteY5" fmla="*/ 9801 h 10000"/>
                <a:gd name="connsiteX6" fmla="*/ 5149 w 9879"/>
                <a:gd name="connsiteY6" fmla="*/ 7233 h 10000"/>
                <a:gd name="connsiteX7" fmla="*/ 6762 w 9879"/>
                <a:gd name="connsiteY7" fmla="*/ 10000 h 10000"/>
                <a:gd name="connsiteX8" fmla="*/ 8888 w 9879"/>
                <a:gd name="connsiteY8" fmla="*/ 9944 h 10000"/>
                <a:gd name="connsiteX9" fmla="*/ 9879 w 9879"/>
                <a:gd name="connsiteY9" fmla="*/ 8101 h 10000"/>
                <a:gd name="connsiteX0" fmla="*/ 10000 w 10000"/>
                <a:gd name="connsiteY0" fmla="*/ 8101 h 10000"/>
                <a:gd name="connsiteX1" fmla="*/ 5212 w 10000"/>
                <a:gd name="connsiteY1" fmla="*/ 0 h 10000"/>
                <a:gd name="connsiteX2" fmla="*/ 13 w 10000"/>
                <a:gd name="connsiteY2" fmla="*/ 8686 h 10000"/>
                <a:gd name="connsiteX3" fmla="*/ 20 w 10000"/>
                <a:gd name="connsiteY3" fmla="*/ 8713 h 10000"/>
                <a:gd name="connsiteX4" fmla="*/ 2212 w 10000"/>
                <a:gd name="connsiteY4" fmla="*/ 8428 h 10000"/>
                <a:gd name="connsiteX5" fmla="*/ 3694 w 10000"/>
                <a:gd name="connsiteY5" fmla="*/ 9801 h 10000"/>
                <a:gd name="connsiteX6" fmla="*/ 5212 w 10000"/>
                <a:gd name="connsiteY6" fmla="*/ 7233 h 10000"/>
                <a:gd name="connsiteX7" fmla="*/ 6845 w 10000"/>
                <a:gd name="connsiteY7" fmla="*/ 10000 h 10000"/>
                <a:gd name="connsiteX8" fmla="*/ 8997 w 10000"/>
                <a:gd name="connsiteY8" fmla="*/ 9944 h 10000"/>
                <a:gd name="connsiteX9" fmla="*/ 10000 w 10000"/>
                <a:gd name="connsiteY9" fmla="*/ 8101 h 10000"/>
                <a:gd name="connsiteX0" fmla="*/ 10000 w 10000"/>
                <a:gd name="connsiteY0" fmla="*/ 8101 h 9944"/>
                <a:gd name="connsiteX1" fmla="*/ 5212 w 10000"/>
                <a:gd name="connsiteY1" fmla="*/ 0 h 9944"/>
                <a:gd name="connsiteX2" fmla="*/ 13 w 10000"/>
                <a:gd name="connsiteY2" fmla="*/ 8686 h 9944"/>
                <a:gd name="connsiteX3" fmla="*/ 20 w 10000"/>
                <a:gd name="connsiteY3" fmla="*/ 8713 h 9944"/>
                <a:gd name="connsiteX4" fmla="*/ 2212 w 10000"/>
                <a:gd name="connsiteY4" fmla="*/ 8428 h 9944"/>
                <a:gd name="connsiteX5" fmla="*/ 3694 w 10000"/>
                <a:gd name="connsiteY5" fmla="*/ 9801 h 9944"/>
                <a:gd name="connsiteX6" fmla="*/ 5212 w 10000"/>
                <a:gd name="connsiteY6" fmla="*/ 7233 h 9944"/>
                <a:gd name="connsiteX7" fmla="*/ 6731 w 10000"/>
                <a:gd name="connsiteY7" fmla="*/ 9777 h 9944"/>
                <a:gd name="connsiteX8" fmla="*/ 8997 w 10000"/>
                <a:gd name="connsiteY8" fmla="*/ 9944 h 9944"/>
                <a:gd name="connsiteX9" fmla="*/ 10000 w 10000"/>
                <a:gd name="connsiteY9" fmla="*/ 8101 h 9944"/>
                <a:gd name="connsiteX0" fmla="*/ 10000 w 10000"/>
                <a:gd name="connsiteY0" fmla="*/ 8147 h 9856"/>
                <a:gd name="connsiteX1" fmla="*/ 5212 w 10000"/>
                <a:gd name="connsiteY1" fmla="*/ 0 h 9856"/>
                <a:gd name="connsiteX2" fmla="*/ 13 w 10000"/>
                <a:gd name="connsiteY2" fmla="*/ 8735 h 9856"/>
                <a:gd name="connsiteX3" fmla="*/ 20 w 10000"/>
                <a:gd name="connsiteY3" fmla="*/ 8762 h 9856"/>
                <a:gd name="connsiteX4" fmla="*/ 2212 w 10000"/>
                <a:gd name="connsiteY4" fmla="*/ 8475 h 9856"/>
                <a:gd name="connsiteX5" fmla="*/ 3694 w 10000"/>
                <a:gd name="connsiteY5" fmla="*/ 9856 h 9856"/>
                <a:gd name="connsiteX6" fmla="*/ 5212 w 10000"/>
                <a:gd name="connsiteY6" fmla="*/ 7274 h 9856"/>
                <a:gd name="connsiteX7" fmla="*/ 6731 w 10000"/>
                <a:gd name="connsiteY7" fmla="*/ 9832 h 9856"/>
                <a:gd name="connsiteX8" fmla="*/ 8940 w 10000"/>
                <a:gd name="connsiteY8" fmla="*/ 9719 h 9856"/>
                <a:gd name="connsiteX9" fmla="*/ 10000 w 10000"/>
                <a:gd name="connsiteY9" fmla="*/ 8147 h 9856"/>
                <a:gd name="connsiteX0" fmla="*/ 9857 w 9857"/>
                <a:gd name="connsiteY0" fmla="*/ 7981 h 10000"/>
                <a:gd name="connsiteX1" fmla="*/ 5212 w 9857"/>
                <a:gd name="connsiteY1" fmla="*/ 0 h 10000"/>
                <a:gd name="connsiteX2" fmla="*/ 13 w 9857"/>
                <a:gd name="connsiteY2" fmla="*/ 8863 h 10000"/>
                <a:gd name="connsiteX3" fmla="*/ 20 w 9857"/>
                <a:gd name="connsiteY3" fmla="*/ 8890 h 10000"/>
                <a:gd name="connsiteX4" fmla="*/ 2212 w 9857"/>
                <a:gd name="connsiteY4" fmla="*/ 8599 h 10000"/>
                <a:gd name="connsiteX5" fmla="*/ 3694 w 9857"/>
                <a:gd name="connsiteY5" fmla="*/ 10000 h 10000"/>
                <a:gd name="connsiteX6" fmla="*/ 5212 w 9857"/>
                <a:gd name="connsiteY6" fmla="*/ 7380 h 10000"/>
                <a:gd name="connsiteX7" fmla="*/ 6731 w 9857"/>
                <a:gd name="connsiteY7" fmla="*/ 9976 h 10000"/>
                <a:gd name="connsiteX8" fmla="*/ 8940 w 9857"/>
                <a:gd name="connsiteY8" fmla="*/ 9861 h 10000"/>
                <a:gd name="connsiteX9" fmla="*/ 9857 w 9857"/>
                <a:gd name="connsiteY9" fmla="*/ 798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7" h="10000">
                  <a:moveTo>
                    <a:pt x="9857" y="7981"/>
                  </a:moveTo>
                  <a:lnTo>
                    <a:pt x="5212" y="0"/>
                  </a:lnTo>
                  <a:lnTo>
                    <a:pt x="13" y="8863"/>
                  </a:lnTo>
                  <a:cubicBezTo>
                    <a:pt x="-32" y="8976"/>
                    <a:pt x="66" y="8776"/>
                    <a:pt x="20" y="8890"/>
                  </a:cubicBezTo>
                  <a:lnTo>
                    <a:pt x="2212" y="8599"/>
                  </a:lnTo>
                  <a:lnTo>
                    <a:pt x="3694" y="10000"/>
                  </a:lnTo>
                  <a:lnTo>
                    <a:pt x="5212" y="7380"/>
                  </a:lnTo>
                  <a:lnTo>
                    <a:pt x="6731" y="9976"/>
                  </a:lnTo>
                  <a:lnTo>
                    <a:pt x="8940" y="9861"/>
                  </a:lnTo>
                  <a:lnTo>
                    <a:pt x="9857" y="7981"/>
                  </a:lnTo>
                  <a:close/>
                </a:path>
              </a:pathLst>
            </a:custGeom>
            <a:noFill/>
            <a:ln>
              <a:noFill/>
            </a:ln>
            <a:effectLst/>
          </p:spPr>
          <p:txBody>
            <a:bodyPr vert="horz" wrap="square" lIns="91440" tIns="45720" rIns="91440" bIns="45720" numCol="1" anchor="t" anchorCtr="0" compatLnSpc="1">
              <a:prstTxWarp prst="textNoShape">
                <a:avLst/>
              </a:prstTxWarp>
            </a:bodyPr>
            <a:lstStyle/>
            <a:p>
              <a:endParaRPr lang="id-ID" sz="11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12"/>
            <p:cNvSpPr>
              <a:spLocks/>
            </p:cNvSpPr>
            <p:nvPr/>
          </p:nvSpPr>
          <p:spPr bwMode="auto">
            <a:xfrm>
              <a:off x="6091845" y="3116468"/>
              <a:ext cx="1910815" cy="1566972"/>
            </a:xfrm>
            <a:custGeom>
              <a:avLst/>
              <a:gdLst>
                <a:gd name="T0" fmla="*/ 5086 w 5146"/>
                <a:gd name="T1" fmla="*/ 4220 h 4220"/>
                <a:gd name="T2" fmla="*/ 4325 w 5146"/>
                <a:gd name="T3" fmla="*/ 3287 h 4220"/>
                <a:gd name="T4" fmla="*/ 5146 w 5146"/>
                <a:gd name="T5" fmla="*/ 2342 h 4220"/>
                <a:gd name="T6" fmla="*/ 3266 w 5146"/>
                <a:gd name="T7" fmla="*/ 2342 h 4220"/>
                <a:gd name="T8" fmla="*/ 4214 w 5146"/>
                <a:gd name="T9" fmla="*/ 701 h 4220"/>
                <a:gd name="T10" fmla="*/ 3468 w 5146"/>
                <a:gd name="T11" fmla="*/ 0 h 4220"/>
                <a:gd name="T12" fmla="*/ 2359 w 5146"/>
                <a:gd name="T13" fmla="*/ 133 h 4220"/>
                <a:gd name="T14" fmla="*/ 0 w 5146"/>
                <a:gd name="T15" fmla="*/ 4220 h 4220"/>
                <a:gd name="T16" fmla="*/ 5086 w 5146"/>
                <a:gd name="T17" fmla="*/ 4220 h 4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6" h="4220">
                  <a:moveTo>
                    <a:pt x="5086" y="4220"/>
                  </a:moveTo>
                  <a:lnTo>
                    <a:pt x="4325" y="3287"/>
                  </a:lnTo>
                  <a:lnTo>
                    <a:pt x="5146" y="2342"/>
                  </a:lnTo>
                  <a:lnTo>
                    <a:pt x="3266" y="2342"/>
                  </a:lnTo>
                  <a:lnTo>
                    <a:pt x="4214" y="701"/>
                  </a:lnTo>
                  <a:lnTo>
                    <a:pt x="3468" y="0"/>
                  </a:lnTo>
                  <a:lnTo>
                    <a:pt x="2359" y="133"/>
                  </a:lnTo>
                  <a:lnTo>
                    <a:pt x="0" y="4220"/>
                  </a:lnTo>
                  <a:lnTo>
                    <a:pt x="5086" y="4220"/>
                  </a:lnTo>
                  <a:close/>
                </a:path>
              </a:pathLst>
            </a:custGeom>
            <a:noFill/>
            <a:ln>
              <a:noFill/>
            </a:ln>
            <a:effectLst/>
          </p:spPr>
          <p:txBody>
            <a:bodyPr vert="horz" wrap="square" lIns="91440" tIns="45720" rIns="91440" bIns="45720" numCol="1" anchor="t" anchorCtr="0" compatLnSpc="1">
              <a:prstTxWarp prst="textNoShape">
                <a:avLst/>
              </a:prstTxWarp>
            </a:bodyPr>
            <a:lstStyle/>
            <a:p>
              <a:endParaRPr lang="id-ID" sz="11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13"/>
            <p:cNvSpPr>
              <a:spLocks/>
            </p:cNvSpPr>
            <p:nvPr/>
          </p:nvSpPr>
          <p:spPr bwMode="auto">
            <a:xfrm>
              <a:off x="7698177" y="2997646"/>
              <a:ext cx="2097960" cy="1685794"/>
            </a:xfrm>
            <a:custGeom>
              <a:avLst/>
              <a:gdLst>
                <a:gd name="T0" fmla="*/ 3030 w 5651"/>
                <a:gd name="T1" fmla="*/ 0 h 4541"/>
                <a:gd name="T2" fmla="*/ 2571 w 5651"/>
                <a:gd name="T3" fmla="*/ 952 h 4541"/>
                <a:gd name="T4" fmla="*/ 1437 w 5651"/>
                <a:gd name="T5" fmla="*/ 1022 h 4541"/>
                <a:gd name="T6" fmla="*/ 2385 w 5651"/>
                <a:gd name="T7" fmla="*/ 2663 h 4541"/>
                <a:gd name="T8" fmla="*/ 821 w 5651"/>
                <a:gd name="T9" fmla="*/ 2663 h 4541"/>
                <a:gd name="T10" fmla="*/ 0 w 5651"/>
                <a:gd name="T11" fmla="*/ 3608 h 4541"/>
                <a:gd name="T12" fmla="*/ 761 w 5651"/>
                <a:gd name="T13" fmla="*/ 4541 h 4541"/>
                <a:gd name="T14" fmla="*/ 5651 w 5651"/>
                <a:gd name="T15" fmla="*/ 4541 h 4541"/>
                <a:gd name="T16" fmla="*/ 3030 w 5651"/>
                <a:gd name="T17" fmla="*/ 0 h 4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51" h="4541">
                  <a:moveTo>
                    <a:pt x="3030" y="0"/>
                  </a:moveTo>
                  <a:lnTo>
                    <a:pt x="2571" y="952"/>
                  </a:lnTo>
                  <a:lnTo>
                    <a:pt x="1437" y="1022"/>
                  </a:lnTo>
                  <a:lnTo>
                    <a:pt x="2385" y="2663"/>
                  </a:lnTo>
                  <a:lnTo>
                    <a:pt x="821" y="2663"/>
                  </a:lnTo>
                  <a:lnTo>
                    <a:pt x="0" y="3608"/>
                  </a:lnTo>
                  <a:lnTo>
                    <a:pt x="761" y="4541"/>
                  </a:lnTo>
                  <a:lnTo>
                    <a:pt x="5651" y="4541"/>
                  </a:lnTo>
                  <a:lnTo>
                    <a:pt x="3030" y="0"/>
                  </a:lnTo>
                  <a:close/>
                </a:path>
              </a:pathLst>
            </a:custGeom>
            <a:noFill/>
            <a:ln>
              <a:noFill/>
            </a:ln>
            <a:effectLst/>
          </p:spPr>
          <p:txBody>
            <a:bodyPr vert="horz" wrap="square" lIns="91440" tIns="45720" rIns="91440" bIns="45720" numCol="1" anchor="t" anchorCtr="0" compatLnSpc="1">
              <a:prstTxWarp prst="textNoShape">
                <a:avLst/>
              </a:prstTxWarp>
            </a:bodyPr>
            <a:lstStyle/>
            <a:p>
              <a:endParaRPr lang="id-ID" sz="11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1" name="Group 40"/>
          <p:cNvGrpSpPr/>
          <p:nvPr/>
        </p:nvGrpSpPr>
        <p:grpSpPr>
          <a:xfrm>
            <a:off x="2396848" y="2857946"/>
            <a:ext cx="3285501" cy="2209713"/>
            <a:chOff x="6255583" y="2228902"/>
            <a:chExt cx="3285501" cy="2209713"/>
          </a:xfrm>
          <a:noFill/>
        </p:grpSpPr>
        <p:sp>
          <p:nvSpPr>
            <p:cNvPr id="42" name="Text Box 16"/>
            <p:cNvSpPr txBox="1">
              <a:spLocks noChangeArrowheads="1"/>
            </p:cNvSpPr>
            <p:nvPr/>
          </p:nvSpPr>
          <p:spPr bwMode="auto">
            <a:xfrm>
              <a:off x="6255583" y="4061589"/>
              <a:ext cx="1182881" cy="377026"/>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rgbClr val="333399"/>
                  </a:solidFill>
                  <a:latin typeface="Verdana" pitchFamily="34" charset="0"/>
                </a:defRPr>
              </a:lvl1pPr>
              <a:lvl2pPr marL="742950" indent="-285750">
                <a:defRPr sz="2400">
                  <a:solidFill>
                    <a:srgbClr val="333399"/>
                  </a:solidFill>
                  <a:latin typeface="Verdana" pitchFamily="34" charset="0"/>
                </a:defRPr>
              </a:lvl2pPr>
              <a:lvl3pPr marL="1143000" indent="-228600">
                <a:defRPr sz="2400">
                  <a:solidFill>
                    <a:srgbClr val="333399"/>
                  </a:solidFill>
                  <a:latin typeface="Verdana" pitchFamily="34" charset="0"/>
                </a:defRPr>
              </a:lvl3pPr>
              <a:lvl4pPr marL="1600200" indent="-228600">
                <a:defRPr sz="2400">
                  <a:solidFill>
                    <a:srgbClr val="333399"/>
                  </a:solidFill>
                  <a:latin typeface="Verdana" pitchFamily="34" charset="0"/>
                </a:defRPr>
              </a:lvl4pPr>
              <a:lvl5pPr marL="2057400" indent="-228600">
                <a:defRPr sz="2400">
                  <a:solidFill>
                    <a:srgbClr val="333399"/>
                  </a:solidFill>
                  <a:latin typeface="Verdana" pitchFamily="34" charset="0"/>
                </a:defRPr>
              </a:lvl5pPr>
              <a:lvl6pPr marL="2514600" indent="-228600" eaLnBrk="0" fontAlgn="base" hangingPunct="0">
                <a:spcBef>
                  <a:spcPct val="0"/>
                </a:spcBef>
                <a:spcAft>
                  <a:spcPct val="0"/>
                </a:spcAft>
                <a:defRPr sz="2400">
                  <a:solidFill>
                    <a:srgbClr val="333399"/>
                  </a:solidFill>
                  <a:latin typeface="Verdana" pitchFamily="34" charset="0"/>
                </a:defRPr>
              </a:lvl6pPr>
              <a:lvl7pPr marL="2971800" indent="-228600" eaLnBrk="0" fontAlgn="base" hangingPunct="0">
                <a:spcBef>
                  <a:spcPct val="0"/>
                </a:spcBef>
                <a:spcAft>
                  <a:spcPct val="0"/>
                </a:spcAft>
                <a:defRPr sz="2400">
                  <a:solidFill>
                    <a:srgbClr val="333399"/>
                  </a:solidFill>
                  <a:latin typeface="Verdana" pitchFamily="34" charset="0"/>
                </a:defRPr>
              </a:lvl7pPr>
              <a:lvl8pPr marL="3429000" indent="-228600" eaLnBrk="0" fontAlgn="base" hangingPunct="0">
                <a:spcBef>
                  <a:spcPct val="0"/>
                </a:spcBef>
                <a:spcAft>
                  <a:spcPct val="0"/>
                </a:spcAft>
                <a:defRPr sz="2400">
                  <a:solidFill>
                    <a:srgbClr val="333399"/>
                  </a:solidFill>
                  <a:latin typeface="Verdana" pitchFamily="34" charset="0"/>
                </a:defRPr>
              </a:lvl8pPr>
              <a:lvl9pPr marL="3886200" indent="-228600" eaLnBrk="0" fontAlgn="base" hangingPunct="0">
                <a:spcBef>
                  <a:spcPct val="0"/>
                </a:spcBef>
                <a:spcAft>
                  <a:spcPct val="0"/>
                </a:spcAft>
                <a:defRPr sz="2400">
                  <a:solidFill>
                    <a:srgbClr val="333399"/>
                  </a:solidFill>
                  <a:latin typeface="Verdana" pitchFamily="34" charset="0"/>
                </a:defRPr>
              </a:lvl9pPr>
            </a:lstStyle>
            <a:p>
              <a:pPr algn="ctr">
                <a:lnSpc>
                  <a:spcPct val="90000"/>
                </a:lnSpc>
                <a:defRPr/>
              </a:pPr>
              <a:r>
                <a:rPr lang="fa-IR" sz="2000" kern="0" dirty="0" smtClean="0">
                  <a:solidFill>
                    <a:schemeClr val="bg1"/>
                  </a:solidFill>
                  <a:latin typeface="Open Sans" panose="020B0606030504020204" pitchFamily="34" charset="0"/>
                  <a:ea typeface="Open Sans" panose="020B0606030504020204" pitchFamily="34" charset="0"/>
                  <a:cs typeface="B Nazanin" panose="00000400000000000000" pitchFamily="2" charset="-78"/>
                </a:rPr>
                <a:t>درمان</a:t>
              </a:r>
              <a:endParaRPr lang="en-US" sz="1600" kern="0" dirty="0">
                <a:solidFill>
                  <a:schemeClr val="bg1"/>
                </a:solidFill>
                <a:latin typeface="Open Sans" panose="020B0606030504020204" pitchFamily="34" charset="0"/>
                <a:ea typeface="Open Sans" panose="020B0606030504020204" pitchFamily="34" charset="0"/>
                <a:cs typeface="B Nazanin" panose="00000400000000000000" pitchFamily="2" charset="-78"/>
              </a:endParaRPr>
            </a:p>
          </p:txBody>
        </p:sp>
        <p:sp>
          <p:nvSpPr>
            <p:cNvPr id="55" name="Text Box 17"/>
            <p:cNvSpPr txBox="1">
              <a:spLocks noChangeArrowheads="1"/>
            </p:cNvSpPr>
            <p:nvPr/>
          </p:nvSpPr>
          <p:spPr bwMode="auto">
            <a:xfrm>
              <a:off x="7462158" y="2228902"/>
              <a:ext cx="923082" cy="377026"/>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rgbClr val="333399"/>
                  </a:solidFill>
                  <a:latin typeface="Verdana" pitchFamily="34" charset="0"/>
                </a:defRPr>
              </a:lvl1pPr>
              <a:lvl2pPr marL="742950" indent="-285750">
                <a:defRPr sz="2400">
                  <a:solidFill>
                    <a:srgbClr val="333399"/>
                  </a:solidFill>
                  <a:latin typeface="Verdana" pitchFamily="34" charset="0"/>
                </a:defRPr>
              </a:lvl2pPr>
              <a:lvl3pPr marL="1143000" indent="-228600">
                <a:defRPr sz="2400">
                  <a:solidFill>
                    <a:srgbClr val="333399"/>
                  </a:solidFill>
                  <a:latin typeface="Verdana" pitchFamily="34" charset="0"/>
                </a:defRPr>
              </a:lvl3pPr>
              <a:lvl4pPr marL="1600200" indent="-228600">
                <a:defRPr sz="2400">
                  <a:solidFill>
                    <a:srgbClr val="333399"/>
                  </a:solidFill>
                  <a:latin typeface="Verdana" pitchFamily="34" charset="0"/>
                </a:defRPr>
              </a:lvl4pPr>
              <a:lvl5pPr marL="2057400" indent="-228600">
                <a:defRPr sz="2400">
                  <a:solidFill>
                    <a:srgbClr val="333399"/>
                  </a:solidFill>
                  <a:latin typeface="Verdana" pitchFamily="34" charset="0"/>
                </a:defRPr>
              </a:lvl5pPr>
              <a:lvl6pPr marL="2514600" indent="-228600" eaLnBrk="0" fontAlgn="base" hangingPunct="0">
                <a:spcBef>
                  <a:spcPct val="0"/>
                </a:spcBef>
                <a:spcAft>
                  <a:spcPct val="0"/>
                </a:spcAft>
                <a:defRPr sz="2400">
                  <a:solidFill>
                    <a:srgbClr val="333399"/>
                  </a:solidFill>
                  <a:latin typeface="Verdana" pitchFamily="34" charset="0"/>
                </a:defRPr>
              </a:lvl6pPr>
              <a:lvl7pPr marL="2971800" indent="-228600" eaLnBrk="0" fontAlgn="base" hangingPunct="0">
                <a:spcBef>
                  <a:spcPct val="0"/>
                </a:spcBef>
                <a:spcAft>
                  <a:spcPct val="0"/>
                </a:spcAft>
                <a:defRPr sz="2400">
                  <a:solidFill>
                    <a:srgbClr val="333399"/>
                  </a:solidFill>
                  <a:latin typeface="Verdana" pitchFamily="34" charset="0"/>
                </a:defRPr>
              </a:lvl7pPr>
              <a:lvl8pPr marL="3429000" indent="-228600" eaLnBrk="0" fontAlgn="base" hangingPunct="0">
                <a:spcBef>
                  <a:spcPct val="0"/>
                </a:spcBef>
                <a:spcAft>
                  <a:spcPct val="0"/>
                </a:spcAft>
                <a:defRPr sz="2400">
                  <a:solidFill>
                    <a:srgbClr val="333399"/>
                  </a:solidFill>
                  <a:latin typeface="Verdana" pitchFamily="34" charset="0"/>
                </a:defRPr>
              </a:lvl8pPr>
              <a:lvl9pPr marL="3886200" indent="-228600" eaLnBrk="0" fontAlgn="base" hangingPunct="0">
                <a:spcBef>
                  <a:spcPct val="0"/>
                </a:spcBef>
                <a:spcAft>
                  <a:spcPct val="0"/>
                </a:spcAft>
                <a:defRPr sz="2400">
                  <a:solidFill>
                    <a:srgbClr val="333399"/>
                  </a:solidFill>
                  <a:latin typeface="Verdana" pitchFamily="34" charset="0"/>
                </a:defRPr>
              </a:lvl9pPr>
            </a:lstStyle>
            <a:p>
              <a:pPr algn="ctr">
                <a:lnSpc>
                  <a:spcPct val="90000"/>
                </a:lnSpc>
                <a:defRPr/>
              </a:pPr>
              <a:r>
                <a:rPr lang="fa-IR" sz="2000" kern="0" dirty="0" smtClean="0">
                  <a:solidFill>
                    <a:schemeClr val="bg1"/>
                  </a:solidFill>
                  <a:latin typeface="Open Sans" panose="020B0606030504020204" pitchFamily="34" charset="0"/>
                  <a:ea typeface="Open Sans" panose="020B0606030504020204" pitchFamily="34" charset="0"/>
                  <a:cs typeface="B Nazanin" panose="00000400000000000000" pitchFamily="2" charset="-78"/>
                </a:rPr>
                <a:t>بانکداری</a:t>
              </a:r>
              <a:endParaRPr lang="en-US" sz="1600" kern="0" dirty="0">
                <a:solidFill>
                  <a:schemeClr val="bg1"/>
                </a:solidFill>
                <a:latin typeface="Open Sans" panose="020B0606030504020204" pitchFamily="34" charset="0"/>
                <a:ea typeface="Open Sans" panose="020B0606030504020204" pitchFamily="34" charset="0"/>
                <a:cs typeface="B Nazanin" panose="00000400000000000000" pitchFamily="2" charset="-78"/>
              </a:endParaRPr>
            </a:p>
          </p:txBody>
        </p:sp>
        <p:sp>
          <p:nvSpPr>
            <p:cNvPr id="56" name="Text Box 18"/>
            <p:cNvSpPr txBox="1">
              <a:spLocks noChangeArrowheads="1"/>
            </p:cNvSpPr>
            <p:nvPr/>
          </p:nvSpPr>
          <p:spPr bwMode="auto">
            <a:xfrm>
              <a:off x="8264390" y="4061589"/>
              <a:ext cx="1276694" cy="377026"/>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rgbClr val="333399"/>
                  </a:solidFill>
                  <a:latin typeface="Verdana" pitchFamily="34" charset="0"/>
                </a:defRPr>
              </a:lvl1pPr>
              <a:lvl2pPr marL="742950" indent="-285750">
                <a:defRPr sz="2400">
                  <a:solidFill>
                    <a:srgbClr val="333399"/>
                  </a:solidFill>
                  <a:latin typeface="Verdana" pitchFamily="34" charset="0"/>
                </a:defRPr>
              </a:lvl2pPr>
              <a:lvl3pPr marL="1143000" indent="-228600">
                <a:defRPr sz="2400">
                  <a:solidFill>
                    <a:srgbClr val="333399"/>
                  </a:solidFill>
                  <a:latin typeface="Verdana" pitchFamily="34" charset="0"/>
                </a:defRPr>
              </a:lvl3pPr>
              <a:lvl4pPr marL="1600200" indent="-228600">
                <a:defRPr sz="2400">
                  <a:solidFill>
                    <a:srgbClr val="333399"/>
                  </a:solidFill>
                  <a:latin typeface="Verdana" pitchFamily="34" charset="0"/>
                </a:defRPr>
              </a:lvl4pPr>
              <a:lvl5pPr marL="2057400" indent="-228600">
                <a:defRPr sz="2400">
                  <a:solidFill>
                    <a:srgbClr val="333399"/>
                  </a:solidFill>
                  <a:latin typeface="Verdana" pitchFamily="34" charset="0"/>
                </a:defRPr>
              </a:lvl5pPr>
              <a:lvl6pPr marL="2514600" indent="-228600" eaLnBrk="0" fontAlgn="base" hangingPunct="0">
                <a:spcBef>
                  <a:spcPct val="0"/>
                </a:spcBef>
                <a:spcAft>
                  <a:spcPct val="0"/>
                </a:spcAft>
                <a:defRPr sz="2400">
                  <a:solidFill>
                    <a:srgbClr val="333399"/>
                  </a:solidFill>
                  <a:latin typeface="Verdana" pitchFamily="34" charset="0"/>
                </a:defRPr>
              </a:lvl6pPr>
              <a:lvl7pPr marL="2971800" indent="-228600" eaLnBrk="0" fontAlgn="base" hangingPunct="0">
                <a:spcBef>
                  <a:spcPct val="0"/>
                </a:spcBef>
                <a:spcAft>
                  <a:spcPct val="0"/>
                </a:spcAft>
                <a:defRPr sz="2400">
                  <a:solidFill>
                    <a:srgbClr val="333399"/>
                  </a:solidFill>
                  <a:latin typeface="Verdana" pitchFamily="34" charset="0"/>
                </a:defRPr>
              </a:lvl7pPr>
              <a:lvl8pPr marL="3429000" indent="-228600" eaLnBrk="0" fontAlgn="base" hangingPunct="0">
                <a:spcBef>
                  <a:spcPct val="0"/>
                </a:spcBef>
                <a:spcAft>
                  <a:spcPct val="0"/>
                </a:spcAft>
                <a:defRPr sz="2400">
                  <a:solidFill>
                    <a:srgbClr val="333399"/>
                  </a:solidFill>
                  <a:latin typeface="Verdana" pitchFamily="34" charset="0"/>
                </a:defRPr>
              </a:lvl8pPr>
              <a:lvl9pPr marL="3886200" indent="-228600" eaLnBrk="0" fontAlgn="base" hangingPunct="0">
                <a:spcBef>
                  <a:spcPct val="0"/>
                </a:spcBef>
                <a:spcAft>
                  <a:spcPct val="0"/>
                </a:spcAft>
                <a:defRPr sz="2400">
                  <a:solidFill>
                    <a:srgbClr val="333399"/>
                  </a:solidFill>
                  <a:latin typeface="Verdana" pitchFamily="34" charset="0"/>
                </a:defRPr>
              </a:lvl9pPr>
            </a:lstStyle>
            <a:p>
              <a:pPr algn="ctr">
                <a:lnSpc>
                  <a:spcPct val="90000"/>
                </a:lnSpc>
                <a:defRPr/>
              </a:pPr>
              <a:r>
                <a:rPr lang="fa-IR" sz="2000" kern="0" dirty="0" smtClean="0">
                  <a:solidFill>
                    <a:schemeClr val="bg1"/>
                  </a:solidFill>
                  <a:latin typeface="Open Sans" panose="020B0606030504020204" pitchFamily="34" charset="0"/>
                  <a:ea typeface="Open Sans" panose="020B0606030504020204" pitchFamily="34" charset="0"/>
                  <a:cs typeface="B Nazanin" panose="00000400000000000000" pitchFamily="2" charset="-78"/>
                </a:rPr>
                <a:t>بیمه</a:t>
              </a:r>
              <a:endParaRPr lang="en-US" sz="1600" kern="0" dirty="0">
                <a:solidFill>
                  <a:schemeClr val="bg1"/>
                </a:solidFill>
                <a:latin typeface="Open Sans" panose="020B0606030504020204" pitchFamily="34" charset="0"/>
                <a:ea typeface="Open Sans" panose="020B0606030504020204" pitchFamily="34" charset="0"/>
                <a:cs typeface="B Nazanin" panose="00000400000000000000" pitchFamily="2" charset="-78"/>
              </a:endParaRPr>
            </a:p>
          </p:txBody>
        </p:sp>
      </p:grpSp>
      <p:sp>
        <p:nvSpPr>
          <p:cNvPr id="57" name="Rectangle 56"/>
          <p:cNvSpPr/>
          <p:nvPr/>
        </p:nvSpPr>
        <p:spPr>
          <a:xfrm>
            <a:off x="183313" y="4481834"/>
            <a:ext cx="1950659" cy="1200329"/>
          </a:xfrm>
          <a:prstGeom prst="rect">
            <a:avLst/>
          </a:prstGeom>
        </p:spPr>
        <p:txBody>
          <a:bodyPr wrap="square">
            <a:spAutoFit/>
          </a:bodyPr>
          <a:lstStyle/>
          <a:p>
            <a:pPr algn="just" rtl="1">
              <a:buClr>
                <a:srgbClr val="E24848"/>
              </a:buClr>
              <a:defRPr/>
            </a:pPr>
            <a:r>
              <a:rPr lang="fa-IR" sz="1200" noProof="1" smtClean="0">
                <a:solidFill>
                  <a:schemeClr val="bg1"/>
                </a:solidFill>
                <a:latin typeface="+mj-lt"/>
                <a:ea typeface="Open Sans Light" panose="020B0306030504020204" pitchFamily="34" charset="0"/>
                <a:cs typeface="B Nazanin" panose="00000400000000000000" pitchFamily="2" charset="-78"/>
              </a:rPr>
              <a:t>به منظور کلاهبرداری در سیستم های درمانی فرد متقلب مدارکی مبتنی بر مراقبت های پزشکی خطرناک یا نادرست تهیه و ارائه می کند تا بتواند با دریافت مبلغی به عنوان جریمه سود بدست آورد.</a:t>
            </a:r>
            <a:endParaRPr lang="en-US" sz="1200" noProof="1">
              <a:solidFill>
                <a:schemeClr val="bg1"/>
              </a:solidFill>
              <a:latin typeface="+mj-lt"/>
              <a:ea typeface="Open Sans Light" panose="020B0306030504020204" pitchFamily="34" charset="0"/>
              <a:cs typeface="B Nazanin" panose="00000400000000000000" pitchFamily="2" charset="-78"/>
            </a:endParaRPr>
          </a:p>
        </p:txBody>
      </p:sp>
      <p:sp>
        <p:nvSpPr>
          <p:cNvPr id="58" name="Rectangle 57"/>
          <p:cNvSpPr/>
          <p:nvPr/>
        </p:nvSpPr>
        <p:spPr>
          <a:xfrm>
            <a:off x="6080076" y="4481834"/>
            <a:ext cx="2064180" cy="1200329"/>
          </a:xfrm>
          <a:prstGeom prst="rect">
            <a:avLst/>
          </a:prstGeom>
        </p:spPr>
        <p:txBody>
          <a:bodyPr wrap="square">
            <a:spAutoFit/>
          </a:bodyPr>
          <a:lstStyle/>
          <a:p>
            <a:pPr algn="just" rtl="1">
              <a:buClr>
                <a:srgbClr val="E24848"/>
              </a:buClr>
              <a:defRPr/>
            </a:pPr>
            <a:r>
              <a:rPr lang="fa-IR" sz="1200" noProof="1" smtClean="0">
                <a:solidFill>
                  <a:schemeClr val="bg1"/>
                </a:solidFill>
                <a:latin typeface="+mj-lt"/>
                <a:ea typeface="Open Sans Light" panose="020B0306030504020204" pitchFamily="34" charset="0"/>
                <a:cs typeface="B Nazanin" panose="00000400000000000000" pitchFamily="2" charset="-78"/>
              </a:rPr>
              <a:t>در صنعت بیمه زمانی که یک بیمه گذار با ارائه مدارک جعلی اقدام به دریافت هزینه از بیمه می نماید یا با تغییر عمدی در شرایط محیط حادثه اختلال در محاسبه میزان جریمه می نماید کلاهبرداری رخ داده است.</a:t>
            </a:r>
            <a:endParaRPr lang="en-US" sz="1200" noProof="1">
              <a:solidFill>
                <a:schemeClr val="bg1"/>
              </a:solidFill>
              <a:latin typeface="+mj-lt"/>
              <a:ea typeface="Open Sans Light" panose="020B0306030504020204" pitchFamily="34" charset="0"/>
              <a:cs typeface="B Nazanin" panose="00000400000000000000" pitchFamily="2" charset="-78"/>
            </a:endParaRPr>
          </a:p>
        </p:txBody>
      </p:sp>
      <p:sp>
        <p:nvSpPr>
          <p:cNvPr id="65" name="Rectangle 64"/>
          <p:cNvSpPr/>
          <p:nvPr/>
        </p:nvSpPr>
        <p:spPr>
          <a:xfrm>
            <a:off x="2949460" y="1295042"/>
            <a:ext cx="2231008" cy="646331"/>
          </a:xfrm>
          <a:prstGeom prst="rect">
            <a:avLst/>
          </a:prstGeom>
        </p:spPr>
        <p:txBody>
          <a:bodyPr wrap="square">
            <a:spAutoFit/>
          </a:bodyPr>
          <a:lstStyle/>
          <a:p>
            <a:pPr algn="ctr" rtl="1">
              <a:buClr>
                <a:srgbClr val="E24848"/>
              </a:buClr>
              <a:defRPr/>
            </a:pPr>
            <a:r>
              <a:rPr lang="fa-IR" sz="1200" noProof="1" smtClean="0">
                <a:solidFill>
                  <a:schemeClr val="bg1"/>
                </a:solidFill>
                <a:latin typeface="+mj-lt"/>
                <a:ea typeface="Open Sans Light" panose="020B0306030504020204" pitchFamily="34" charset="0"/>
                <a:cs typeface="B Nazanin" panose="00000400000000000000" pitchFamily="2" charset="-78"/>
              </a:rPr>
              <a:t>کلاهبرداری بانکی زمانی رخ می دهد که فردی از روش های غیر قانونی پولی از بانک یا هر سیستم مالی بدست می آورد.</a:t>
            </a:r>
            <a:endParaRPr lang="en-US" sz="1200" noProof="1">
              <a:solidFill>
                <a:schemeClr val="bg1"/>
              </a:solidFill>
              <a:latin typeface="+mj-lt"/>
              <a:ea typeface="Open Sans Light" panose="020B0306030504020204" pitchFamily="34" charset="0"/>
              <a:cs typeface="B Nazanin" panose="00000400000000000000" pitchFamily="2" charset="-78"/>
            </a:endParaRPr>
          </a:p>
        </p:txBody>
      </p:sp>
      <p:sp>
        <p:nvSpPr>
          <p:cNvPr id="66" name="Rectangle 65"/>
          <p:cNvSpPr/>
          <p:nvPr/>
        </p:nvSpPr>
        <p:spPr>
          <a:xfrm>
            <a:off x="7528560" y="3584106"/>
            <a:ext cx="3460803" cy="461665"/>
          </a:xfrm>
          <a:prstGeom prst="rect">
            <a:avLst/>
          </a:prstGeom>
        </p:spPr>
        <p:txBody>
          <a:bodyPr wrap="square">
            <a:spAutoFit/>
          </a:bodyPr>
          <a:lstStyle/>
          <a:p>
            <a:pPr algn="r" rtl="1">
              <a:buClr>
                <a:srgbClr val="E24848"/>
              </a:buClr>
              <a:defRPr/>
            </a:pPr>
            <a:r>
              <a:rPr lang="fa-IR" sz="1200" noProof="1" smtClean="0">
                <a:solidFill>
                  <a:schemeClr val="bg1"/>
                </a:solidFill>
                <a:latin typeface="+mj-lt"/>
                <a:ea typeface="Open Sans Light" panose="020B0306030504020204" pitchFamily="34" charset="0"/>
                <a:cs typeface="B Nazanin" panose="00000400000000000000" pitchFamily="2" charset="-78"/>
              </a:rPr>
              <a:t>در سال 2016 مشتریان در ایالات متحده آمریکا در اثر کلاهبرداری های بانکی بیش از </a:t>
            </a:r>
            <a:r>
              <a:rPr lang="fa-IR" sz="1200" b="1" noProof="1" smtClean="0">
                <a:solidFill>
                  <a:schemeClr val="bg1"/>
                </a:solidFill>
                <a:latin typeface="+mj-lt"/>
                <a:ea typeface="Open Sans Light" panose="020B0306030504020204" pitchFamily="34" charset="0"/>
                <a:cs typeface="B Nazanin" panose="00000400000000000000" pitchFamily="2" charset="-78"/>
              </a:rPr>
              <a:t>16 میلیارد دلار</a:t>
            </a:r>
            <a:r>
              <a:rPr lang="fa-IR" sz="1200" noProof="1" smtClean="0">
                <a:solidFill>
                  <a:schemeClr val="bg1"/>
                </a:solidFill>
                <a:latin typeface="+mj-lt"/>
                <a:ea typeface="Open Sans Light" panose="020B0306030504020204" pitchFamily="34" charset="0"/>
                <a:cs typeface="B Nazanin" panose="00000400000000000000" pitchFamily="2" charset="-78"/>
              </a:rPr>
              <a:t> خسارت دیده اند.</a:t>
            </a:r>
            <a:endParaRPr lang="en-US" sz="1200" noProof="1">
              <a:solidFill>
                <a:schemeClr val="bg1"/>
              </a:solidFill>
              <a:latin typeface="+mj-lt"/>
              <a:ea typeface="Open Sans Light" panose="020B0306030504020204" pitchFamily="34" charset="0"/>
              <a:cs typeface="B Nazanin" panose="00000400000000000000" pitchFamily="2" charset="-78"/>
            </a:endParaRPr>
          </a:p>
        </p:txBody>
      </p:sp>
      <p:grpSp>
        <p:nvGrpSpPr>
          <p:cNvPr id="67" name="Group 66"/>
          <p:cNvGrpSpPr/>
          <p:nvPr/>
        </p:nvGrpSpPr>
        <p:grpSpPr>
          <a:xfrm>
            <a:off x="1606708" y="3916346"/>
            <a:ext cx="457200" cy="400050"/>
            <a:chOff x="1820068" y="1868090"/>
            <a:chExt cx="457200" cy="400050"/>
          </a:xfrm>
          <a:solidFill>
            <a:schemeClr val="accent2"/>
          </a:solidFill>
        </p:grpSpPr>
        <p:sp>
          <p:nvSpPr>
            <p:cNvPr id="68" name="Freeform 148"/>
            <p:cNvSpPr>
              <a:spLocks noEditPoints="1"/>
            </p:cNvSpPr>
            <p:nvPr/>
          </p:nvSpPr>
          <p:spPr bwMode="auto">
            <a:xfrm>
              <a:off x="1820068" y="1868090"/>
              <a:ext cx="457200" cy="400050"/>
            </a:xfrm>
            <a:custGeom>
              <a:avLst/>
              <a:gdLst>
                <a:gd name="T0" fmla="*/ 583 w 1152"/>
                <a:gd name="T1" fmla="*/ 936 h 1008"/>
                <a:gd name="T2" fmla="*/ 551 w 1152"/>
                <a:gd name="T3" fmla="*/ 926 h 1008"/>
                <a:gd name="T4" fmla="*/ 117 w 1152"/>
                <a:gd name="T5" fmla="*/ 490 h 1008"/>
                <a:gd name="T6" fmla="*/ 88 w 1152"/>
                <a:gd name="T7" fmla="*/ 430 h 1008"/>
                <a:gd name="T8" fmla="*/ 74 w 1152"/>
                <a:gd name="T9" fmla="*/ 366 h 1008"/>
                <a:gd name="T10" fmla="*/ 75 w 1152"/>
                <a:gd name="T11" fmla="*/ 302 h 1008"/>
                <a:gd name="T12" fmla="*/ 93 w 1152"/>
                <a:gd name="T13" fmla="*/ 239 h 1008"/>
                <a:gd name="T14" fmla="*/ 125 w 1152"/>
                <a:gd name="T15" fmla="*/ 182 h 1008"/>
                <a:gd name="T16" fmla="*/ 173 w 1152"/>
                <a:gd name="T17" fmla="*/ 132 h 1008"/>
                <a:gd name="T18" fmla="*/ 228 w 1152"/>
                <a:gd name="T19" fmla="*/ 98 h 1008"/>
                <a:gd name="T20" fmla="*/ 287 w 1152"/>
                <a:gd name="T21" fmla="*/ 78 h 1008"/>
                <a:gd name="T22" fmla="*/ 351 w 1152"/>
                <a:gd name="T23" fmla="*/ 72 h 1008"/>
                <a:gd name="T24" fmla="*/ 413 w 1152"/>
                <a:gd name="T25" fmla="*/ 80 h 1008"/>
                <a:gd name="T26" fmla="*/ 473 w 1152"/>
                <a:gd name="T27" fmla="*/ 104 h 1008"/>
                <a:gd name="T28" fmla="*/ 527 w 1152"/>
                <a:gd name="T29" fmla="*/ 142 h 1008"/>
                <a:gd name="T30" fmla="*/ 656 w 1152"/>
                <a:gd name="T31" fmla="*/ 118 h 1008"/>
                <a:gd name="T32" fmla="*/ 715 w 1152"/>
                <a:gd name="T33" fmla="*/ 89 h 1008"/>
                <a:gd name="T34" fmla="*/ 776 w 1152"/>
                <a:gd name="T35" fmla="*/ 74 h 1008"/>
                <a:gd name="T36" fmla="*/ 839 w 1152"/>
                <a:gd name="T37" fmla="*/ 74 h 1008"/>
                <a:gd name="T38" fmla="*/ 900 w 1152"/>
                <a:gd name="T39" fmla="*/ 88 h 1008"/>
                <a:gd name="T40" fmla="*/ 959 w 1152"/>
                <a:gd name="T41" fmla="*/ 117 h 1008"/>
                <a:gd name="T42" fmla="*/ 1010 w 1152"/>
                <a:gd name="T43" fmla="*/ 160 h 1008"/>
                <a:gd name="T44" fmla="*/ 1048 w 1152"/>
                <a:gd name="T45" fmla="*/ 215 h 1008"/>
                <a:gd name="T46" fmla="*/ 1071 w 1152"/>
                <a:gd name="T47" fmla="*/ 277 h 1008"/>
                <a:gd name="T48" fmla="*/ 1079 w 1152"/>
                <a:gd name="T49" fmla="*/ 341 h 1008"/>
                <a:gd name="T50" fmla="*/ 1071 w 1152"/>
                <a:gd name="T51" fmla="*/ 405 h 1008"/>
                <a:gd name="T52" fmla="*/ 1048 w 1152"/>
                <a:gd name="T53" fmla="*/ 466 h 1008"/>
                <a:gd name="T54" fmla="*/ 1010 w 1152"/>
                <a:gd name="T55" fmla="*/ 522 h 1008"/>
                <a:gd name="T56" fmla="*/ 1026 w 1152"/>
                <a:gd name="T57" fmla="*/ 77 h 1008"/>
                <a:gd name="T58" fmla="*/ 956 w 1152"/>
                <a:gd name="T59" fmla="*/ 33 h 1008"/>
                <a:gd name="T60" fmla="*/ 879 w 1152"/>
                <a:gd name="T61" fmla="*/ 7 h 1008"/>
                <a:gd name="T62" fmla="*/ 799 w 1152"/>
                <a:gd name="T63" fmla="*/ 0 h 1008"/>
                <a:gd name="T64" fmla="*/ 720 w 1152"/>
                <a:gd name="T65" fmla="*/ 11 h 1008"/>
                <a:gd name="T66" fmla="*/ 644 w 1152"/>
                <a:gd name="T67" fmla="*/ 41 h 1008"/>
                <a:gd name="T68" fmla="*/ 575 w 1152"/>
                <a:gd name="T69" fmla="*/ 89 h 1008"/>
                <a:gd name="T70" fmla="*/ 507 w 1152"/>
                <a:gd name="T71" fmla="*/ 41 h 1008"/>
                <a:gd name="T72" fmla="*/ 432 w 1152"/>
                <a:gd name="T73" fmla="*/ 11 h 1008"/>
                <a:gd name="T74" fmla="*/ 353 w 1152"/>
                <a:gd name="T75" fmla="*/ 0 h 1008"/>
                <a:gd name="T76" fmla="*/ 273 w 1152"/>
                <a:gd name="T77" fmla="*/ 7 h 1008"/>
                <a:gd name="T78" fmla="*/ 196 w 1152"/>
                <a:gd name="T79" fmla="*/ 33 h 1008"/>
                <a:gd name="T80" fmla="*/ 126 w 1152"/>
                <a:gd name="T81" fmla="*/ 77 h 1008"/>
                <a:gd name="T82" fmla="*/ 67 w 1152"/>
                <a:gd name="T83" fmla="*/ 139 h 1008"/>
                <a:gd name="T84" fmla="*/ 26 w 1152"/>
                <a:gd name="T85" fmla="*/ 212 h 1008"/>
                <a:gd name="T86" fmla="*/ 4 w 1152"/>
                <a:gd name="T87" fmla="*/ 292 h 1008"/>
                <a:gd name="T88" fmla="*/ 2 w 1152"/>
                <a:gd name="T89" fmla="*/ 374 h 1008"/>
                <a:gd name="T90" fmla="*/ 19 w 1152"/>
                <a:gd name="T91" fmla="*/ 454 h 1008"/>
                <a:gd name="T92" fmla="*/ 57 w 1152"/>
                <a:gd name="T93" fmla="*/ 528 h 1008"/>
                <a:gd name="T94" fmla="*/ 129 w 1152"/>
                <a:gd name="T95" fmla="*/ 611 h 1008"/>
                <a:gd name="T96" fmla="*/ 443 w 1152"/>
                <a:gd name="T97" fmla="*/ 921 h 1008"/>
                <a:gd name="T98" fmla="*/ 526 w 1152"/>
                <a:gd name="T99" fmla="*/ 995 h 1008"/>
                <a:gd name="T100" fmla="*/ 576 w 1152"/>
                <a:gd name="T101" fmla="*/ 1008 h 1008"/>
                <a:gd name="T102" fmla="*/ 626 w 1152"/>
                <a:gd name="T103" fmla="*/ 995 h 1008"/>
                <a:gd name="T104" fmla="*/ 715 w 1152"/>
                <a:gd name="T105" fmla="*/ 915 h 1008"/>
                <a:gd name="T106" fmla="*/ 1032 w 1152"/>
                <a:gd name="T107" fmla="*/ 601 h 1008"/>
                <a:gd name="T108" fmla="*/ 1095 w 1152"/>
                <a:gd name="T109" fmla="*/ 528 h 1008"/>
                <a:gd name="T110" fmla="*/ 1133 w 1152"/>
                <a:gd name="T111" fmla="*/ 454 h 1008"/>
                <a:gd name="T112" fmla="*/ 1150 w 1152"/>
                <a:gd name="T113" fmla="*/ 374 h 1008"/>
                <a:gd name="T114" fmla="*/ 1148 w 1152"/>
                <a:gd name="T115" fmla="*/ 292 h 1008"/>
                <a:gd name="T116" fmla="*/ 1126 w 1152"/>
                <a:gd name="T117" fmla="*/ 212 h 1008"/>
                <a:gd name="T118" fmla="*/ 1085 w 1152"/>
                <a:gd name="T119" fmla="*/ 139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2" h="1008">
                  <a:moveTo>
                    <a:pt x="1000" y="532"/>
                  </a:moveTo>
                  <a:lnTo>
                    <a:pt x="601" y="926"/>
                  </a:lnTo>
                  <a:lnTo>
                    <a:pt x="596" y="930"/>
                  </a:lnTo>
                  <a:lnTo>
                    <a:pt x="589" y="933"/>
                  </a:lnTo>
                  <a:lnTo>
                    <a:pt x="583" y="936"/>
                  </a:lnTo>
                  <a:lnTo>
                    <a:pt x="576" y="936"/>
                  </a:lnTo>
                  <a:lnTo>
                    <a:pt x="569" y="936"/>
                  </a:lnTo>
                  <a:lnTo>
                    <a:pt x="562" y="933"/>
                  </a:lnTo>
                  <a:lnTo>
                    <a:pt x="556" y="930"/>
                  </a:lnTo>
                  <a:lnTo>
                    <a:pt x="551" y="926"/>
                  </a:lnTo>
                  <a:lnTo>
                    <a:pt x="152" y="532"/>
                  </a:lnTo>
                  <a:lnTo>
                    <a:pt x="142" y="522"/>
                  </a:lnTo>
                  <a:lnTo>
                    <a:pt x="134" y="511"/>
                  </a:lnTo>
                  <a:lnTo>
                    <a:pt x="125" y="500"/>
                  </a:lnTo>
                  <a:lnTo>
                    <a:pt x="117" y="490"/>
                  </a:lnTo>
                  <a:lnTo>
                    <a:pt x="110" y="478"/>
                  </a:lnTo>
                  <a:lnTo>
                    <a:pt x="103" y="466"/>
                  </a:lnTo>
                  <a:lnTo>
                    <a:pt x="98" y="454"/>
                  </a:lnTo>
                  <a:lnTo>
                    <a:pt x="93" y="442"/>
                  </a:lnTo>
                  <a:lnTo>
                    <a:pt x="88" y="430"/>
                  </a:lnTo>
                  <a:lnTo>
                    <a:pt x="84" y="417"/>
                  </a:lnTo>
                  <a:lnTo>
                    <a:pt x="81" y="405"/>
                  </a:lnTo>
                  <a:lnTo>
                    <a:pt x="77" y="392"/>
                  </a:lnTo>
                  <a:lnTo>
                    <a:pt x="75" y="379"/>
                  </a:lnTo>
                  <a:lnTo>
                    <a:pt x="74" y="366"/>
                  </a:lnTo>
                  <a:lnTo>
                    <a:pt x="73" y="354"/>
                  </a:lnTo>
                  <a:lnTo>
                    <a:pt x="73" y="341"/>
                  </a:lnTo>
                  <a:lnTo>
                    <a:pt x="73" y="328"/>
                  </a:lnTo>
                  <a:lnTo>
                    <a:pt x="74" y="315"/>
                  </a:lnTo>
                  <a:lnTo>
                    <a:pt x="75" y="302"/>
                  </a:lnTo>
                  <a:lnTo>
                    <a:pt x="77" y="290"/>
                  </a:lnTo>
                  <a:lnTo>
                    <a:pt x="81" y="277"/>
                  </a:lnTo>
                  <a:lnTo>
                    <a:pt x="84" y="264"/>
                  </a:lnTo>
                  <a:lnTo>
                    <a:pt x="88" y="252"/>
                  </a:lnTo>
                  <a:lnTo>
                    <a:pt x="93" y="239"/>
                  </a:lnTo>
                  <a:lnTo>
                    <a:pt x="98" y="227"/>
                  </a:lnTo>
                  <a:lnTo>
                    <a:pt x="103" y="215"/>
                  </a:lnTo>
                  <a:lnTo>
                    <a:pt x="110" y="203"/>
                  </a:lnTo>
                  <a:lnTo>
                    <a:pt x="117" y="193"/>
                  </a:lnTo>
                  <a:lnTo>
                    <a:pt x="125" y="182"/>
                  </a:lnTo>
                  <a:lnTo>
                    <a:pt x="134" y="171"/>
                  </a:lnTo>
                  <a:lnTo>
                    <a:pt x="142" y="160"/>
                  </a:lnTo>
                  <a:lnTo>
                    <a:pt x="152" y="150"/>
                  </a:lnTo>
                  <a:lnTo>
                    <a:pt x="162" y="141"/>
                  </a:lnTo>
                  <a:lnTo>
                    <a:pt x="173" y="132"/>
                  </a:lnTo>
                  <a:lnTo>
                    <a:pt x="182" y="125"/>
                  </a:lnTo>
                  <a:lnTo>
                    <a:pt x="193" y="117"/>
                  </a:lnTo>
                  <a:lnTo>
                    <a:pt x="205" y="109"/>
                  </a:lnTo>
                  <a:lnTo>
                    <a:pt x="216" y="104"/>
                  </a:lnTo>
                  <a:lnTo>
                    <a:pt x="228" y="98"/>
                  </a:lnTo>
                  <a:lnTo>
                    <a:pt x="239" y="92"/>
                  </a:lnTo>
                  <a:lnTo>
                    <a:pt x="251" y="88"/>
                  </a:lnTo>
                  <a:lnTo>
                    <a:pt x="263" y="84"/>
                  </a:lnTo>
                  <a:lnTo>
                    <a:pt x="275" y="80"/>
                  </a:lnTo>
                  <a:lnTo>
                    <a:pt x="287" y="78"/>
                  </a:lnTo>
                  <a:lnTo>
                    <a:pt x="300" y="75"/>
                  </a:lnTo>
                  <a:lnTo>
                    <a:pt x="313" y="74"/>
                  </a:lnTo>
                  <a:lnTo>
                    <a:pt x="325" y="73"/>
                  </a:lnTo>
                  <a:lnTo>
                    <a:pt x="338" y="72"/>
                  </a:lnTo>
                  <a:lnTo>
                    <a:pt x="351" y="72"/>
                  </a:lnTo>
                  <a:lnTo>
                    <a:pt x="363" y="73"/>
                  </a:lnTo>
                  <a:lnTo>
                    <a:pt x="376" y="74"/>
                  </a:lnTo>
                  <a:lnTo>
                    <a:pt x="389" y="76"/>
                  </a:lnTo>
                  <a:lnTo>
                    <a:pt x="400" y="78"/>
                  </a:lnTo>
                  <a:lnTo>
                    <a:pt x="413" y="80"/>
                  </a:lnTo>
                  <a:lnTo>
                    <a:pt x="425" y="85"/>
                  </a:lnTo>
                  <a:lnTo>
                    <a:pt x="437" y="89"/>
                  </a:lnTo>
                  <a:lnTo>
                    <a:pt x="449" y="93"/>
                  </a:lnTo>
                  <a:lnTo>
                    <a:pt x="461" y="99"/>
                  </a:lnTo>
                  <a:lnTo>
                    <a:pt x="473" y="104"/>
                  </a:lnTo>
                  <a:lnTo>
                    <a:pt x="485" y="111"/>
                  </a:lnTo>
                  <a:lnTo>
                    <a:pt x="495" y="118"/>
                  </a:lnTo>
                  <a:lnTo>
                    <a:pt x="506" y="126"/>
                  </a:lnTo>
                  <a:lnTo>
                    <a:pt x="517" y="133"/>
                  </a:lnTo>
                  <a:lnTo>
                    <a:pt x="527" y="142"/>
                  </a:lnTo>
                  <a:lnTo>
                    <a:pt x="575" y="186"/>
                  </a:lnTo>
                  <a:lnTo>
                    <a:pt x="625" y="142"/>
                  </a:lnTo>
                  <a:lnTo>
                    <a:pt x="635" y="133"/>
                  </a:lnTo>
                  <a:lnTo>
                    <a:pt x="646" y="126"/>
                  </a:lnTo>
                  <a:lnTo>
                    <a:pt x="656" y="118"/>
                  </a:lnTo>
                  <a:lnTo>
                    <a:pt x="667" y="111"/>
                  </a:lnTo>
                  <a:lnTo>
                    <a:pt x="679" y="104"/>
                  </a:lnTo>
                  <a:lnTo>
                    <a:pt x="691" y="99"/>
                  </a:lnTo>
                  <a:lnTo>
                    <a:pt x="703" y="93"/>
                  </a:lnTo>
                  <a:lnTo>
                    <a:pt x="715" y="89"/>
                  </a:lnTo>
                  <a:lnTo>
                    <a:pt x="727" y="85"/>
                  </a:lnTo>
                  <a:lnTo>
                    <a:pt x="738" y="80"/>
                  </a:lnTo>
                  <a:lnTo>
                    <a:pt x="751" y="78"/>
                  </a:lnTo>
                  <a:lnTo>
                    <a:pt x="763" y="76"/>
                  </a:lnTo>
                  <a:lnTo>
                    <a:pt x="776" y="74"/>
                  </a:lnTo>
                  <a:lnTo>
                    <a:pt x="789" y="73"/>
                  </a:lnTo>
                  <a:lnTo>
                    <a:pt x="801" y="72"/>
                  </a:lnTo>
                  <a:lnTo>
                    <a:pt x="814" y="72"/>
                  </a:lnTo>
                  <a:lnTo>
                    <a:pt x="827" y="73"/>
                  </a:lnTo>
                  <a:lnTo>
                    <a:pt x="839" y="74"/>
                  </a:lnTo>
                  <a:lnTo>
                    <a:pt x="852" y="75"/>
                  </a:lnTo>
                  <a:lnTo>
                    <a:pt x="865" y="78"/>
                  </a:lnTo>
                  <a:lnTo>
                    <a:pt x="877" y="80"/>
                  </a:lnTo>
                  <a:lnTo>
                    <a:pt x="889" y="84"/>
                  </a:lnTo>
                  <a:lnTo>
                    <a:pt x="900" y="88"/>
                  </a:lnTo>
                  <a:lnTo>
                    <a:pt x="913" y="92"/>
                  </a:lnTo>
                  <a:lnTo>
                    <a:pt x="924" y="98"/>
                  </a:lnTo>
                  <a:lnTo>
                    <a:pt x="936" y="104"/>
                  </a:lnTo>
                  <a:lnTo>
                    <a:pt x="947" y="109"/>
                  </a:lnTo>
                  <a:lnTo>
                    <a:pt x="959" y="117"/>
                  </a:lnTo>
                  <a:lnTo>
                    <a:pt x="970" y="125"/>
                  </a:lnTo>
                  <a:lnTo>
                    <a:pt x="979" y="132"/>
                  </a:lnTo>
                  <a:lnTo>
                    <a:pt x="990" y="141"/>
                  </a:lnTo>
                  <a:lnTo>
                    <a:pt x="1000" y="150"/>
                  </a:lnTo>
                  <a:lnTo>
                    <a:pt x="1010" y="160"/>
                  </a:lnTo>
                  <a:lnTo>
                    <a:pt x="1018" y="171"/>
                  </a:lnTo>
                  <a:lnTo>
                    <a:pt x="1027" y="182"/>
                  </a:lnTo>
                  <a:lnTo>
                    <a:pt x="1034" y="193"/>
                  </a:lnTo>
                  <a:lnTo>
                    <a:pt x="1042" y="203"/>
                  </a:lnTo>
                  <a:lnTo>
                    <a:pt x="1048" y="215"/>
                  </a:lnTo>
                  <a:lnTo>
                    <a:pt x="1054" y="227"/>
                  </a:lnTo>
                  <a:lnTo>
                    <a:pt x="1059" y="239"/>
                  </a:lnTo>
                  <a:lnTo>
                    <a:pt x="1064" y="252"/>
                  </a:lnTo>
                  <a:lnTo>
                    <a:pt x="1068" y="264"/>
                  </a:lnTo>
                  <a:lnTo>
                    <a:pt x="1071" y="277"/>
                  </a:lnTo>
                  <a:lnTo>
                    <a:pt x="1074" y="290"/>
                  </a:lnTo>
                  <a:lnTo>
                    <a:pt x="1076" y="302"/>
                  </a:lnTo>
                  <a:lnTo>
                    <a:pt x="1078" y="315"/>
                  </a:lnTo>
                  <a:lnTo>
                    <a:pt x="1079" y="328"/>
                  </a:lnTo>
                  <a:lnTo>
                    <a:pt x="1079" y="341"/>
                  </a:lnTo>
                  <a:lnTo>
                    <a:pt x="1079" y="354"/>
                  </a:lnTo>
                  <a:lnTo>
                    <a:pt x="1078" y="366"/>
                  </a:lnTo>
                  <a:lnTo>
                    <a:pt x="1076" y="379"/>
                  </a:lnTo>
                  <a:lnTo>
                    <a:pt x="1074" y="392"/>
                  </a:lnTo>
                  <a:lnTo>
                    <a:pt x="1071" y="405"/>
                  </a:lnTo>
                  <a:lnTo>
                    <a:pt x="1068" y="417"/>
                  </a:lnTo>
                  <a:lnTo>
                    <a:pt x="1064" y="430"/>
                  </a:lnTo>
                  <a:lnTo>
                    <a:pt x="1059" y="442"/>
                  </a:lnTo>
                  <a:lnTo>
                    <a:pt x="1054" y="454"/>
                  </a:lnTo>
                  <a:lnTo>
                    <a:pt x="1048" y="466"/>
                  </a:lnTo>
                  <a:lnTo>
                    <a:pt x="1042" y="478"/>
                  </a:lnTo>
                  <a:lnTo>
                    <a:pt x="1034" y="490"/>
                  </a:lnTo>
                  <a:lnTo>
                    <a:pt x="1027" y="500"/>
                  </a:lnTo>
                  <a:lnTo>
                    <a:pt x="1018" y="511"/>
                  </a:lnTo>
                  <a:lnTo>
                    <a:pt x="1010" y="522"/>
                  </a:lnTo>
                  <a:lnTo>
                    <a:pt x="1000" y="532"/>
                  </a:lnTo>
                  <a:lnTo>
                    <a:pt x="1000" y="532"/>
                  </a:lnTo>
                  <a:close/>
                  <a:moveTo>
                    <a:pt x="1051" y="100"/>
                  </a:moveTo>
                  <a:lnTo>
                    <a:pt x="1039" y="88"/>
                  </a:lnTo>
                  <a:lnTo>
                    <a:pt x="1026" y="77"/>
                  </a:lnTo>
                  <a:lnTo>
                    <a:pt x="1012" y="66"/>
                  </a:lnTo>
                  <a:lnTo>
                    <a:pt x="999" y="57"/>
                  </a:lnTo>
                  <a:lnTo>
                    <a:pt x="985" y="48"/>
                  </a:lnTo>
                  <a:lnTo>
                    <a:pt x="970" y="40"/>
                  </a:lnTo>
                  <a:lnTo>
                    <a:pt x="956" y="33"/>
                  </a:lnTo>
                  <a:lnTo>
                    <a:pt x="940" y="26"/>
                  </a:lnTo>
                  <a:lnTo>
                    <a:pt x="925" y="20"/>
                  </a:lnTo>
                  <a:lnTo>
                    <a:pt x="910" y="15"/>
                  </a:lnTo>
                  <a:lnTo>
                    <a:pt x="894" y="11"/>
                  </a:lnTo>
                  <a:lnTo>
                    <a:pt x="879" y="7"/>
                  </a:lnTo>
                  <a:lnTo>
                    <a:pt x="863" y="5"/>
                  </a:lnTo>
                  <a:lnTo>
                    <a:pt x="848" y="3"/>
                  </a:lnTo>
                  <a:lnTo>
                    <a:pt x="831" y="0"/>
                  </a:lnTo>
                  <a:lnTo>
                    <a:pt x="815" y="0"/>
                  </a:lnTo>
                  <a:lnTo>
                    <a:pt x="799" y="0"/>
                  </a:lnTo>
                  <a:lnTo>
                    <a:pt x="783" y="1"/>
                  </a:lnTo>
                  <a:lnTo>
                    <a:pt x="768" y="3"/>
                  </a:lnTo>
                  <a:lnTo>
                    <a:pt x="751" y="5"/>
                  </a:lnTo>
                  <a:lnTo>
                    <a:pt x="735" y="8"/>
                  </a:lnTo>
                  <a:lnTo>
                    <a:pt x="720" y="11"/>
                  </a:lnTo>
                  <a:lnTo>
                    <a:pt x="704" y="15"/>
                  </a:lnTo>
                  <a:lnTo>
                    <a:pt x="689" y="21"/>
                  </a:lnTo>
                  <a:lnTo>
                    <a:pt x="674" y="27"/>
                  </a:lnTo>
                  <a:lnTo>
                    <a:pt x="659" y="34"/>
                  </a:lnTo>
                  <a:lnTo>
                    <a:pt x="644" y="41"/>
                  </a:lnTo>
                  <a:lnTo>
                    <a:pt x="629" y="49"/>
                  </a:lnTo>
                  <a:lnTo>
                    <a:pt x="615" y="58"/>
                  </a:lnTo>
                  <a:lnTo>
                    <a:pt x="602" y="67"/>
                  </a:lnTo>
                  <a:lnTo>
                    <a:pt x="588" y="78"/>
                  </a:lnTo>
                  <a:lnTo>
                    <a:pt x="575" y="89"/>
                  </a:lnTo>
                  <a:lnTo>
                    <a:pt x="563" y="78"/>
                  </a:lnTo>
                  <a:lnTo>
                    <a:pt x="549" y="67"/>
                  </a:lnTo>
                  <a:lnTo>
                    <a:pt x="536" y="58"/>
                  </a:lnTo>
                  <a:lnTo>
                    <a:pt x="522" y="49"/>
                  </a:lnTo>
                  <a:lnTo>
                    <a:pt x="507" y="41"/>
                  </a:lnTo>
                  <a:lnTo>
                    <a:pt x="493" y="34"/>
                  </a:lnTo>
                  <a:lnTo>
                    <a:pt x="478" y="27"/>
                  </a:lnTo>
                  <a:lnTo>
                    <a:pt x="463" y="21"/>
                  </a:lnTo>
                  <a:lnTo>
                    <a:pt x="448" y="15"/>
                  </a:lnTo>
                  <a:lnTo>
                    <a:pt x="432" y="11"/>
                  </a:lnTo>
                  <a:lnTo>
                    <a:pt x="417" y="8"/>
                  </a:lnTo>
                  <a:lnTo>
                    <a:pt x="400" y="5"/>
                  </a:lnTo>
                  <a:lnTo>
                    <a:pt x="384" y="3"/>
                  </a:lnTo>
                  <a:lnTo>
                    <a:pt x="369" y="1"/>
                  </a:lnTo>
                  <a:lnTo>
                    <a:pt x="353" y="0"/>
                  </a:lnTo>
                  <a:lnTo>
                    <a:pt x="337" y="0"/>
                  </a:lnTo>
                  <a:lnTo>
                    <a:pt x="320" y="0"/>
                  </a:lnTo>
                  <a:lnTo>
                    <a:pt x="304" y="3"/>
                  </a:lnTo>
                  <a:lnTo>
                    <a:pt x="289" y="5"/>
                  </a:lnTo>
                  <a:lnTo>
                    <a:pt x="273" y="7"/>
                  </a:lnTo>
                  <a:lnTo>
                    <a:pt x="258" y="11"/>
                  </a:lnTo>
                  <a:lnTo>
                    <a:pt x="242" y="15"/>
                  </a:lnTo>
                  <a:lnTo>
                    <a:pt x="227" y="20"/>
                  </a:lnTo>
                  <a:lnTo>
                    <a:pt x="211" y="26"/>
                  </a:lnTo>
                  <a:lnTo>
                    <a:pt x="196" y="33"/>
                  </a:lnTo>
                  <a:lnTo>
                    <a:pt x="182" y="40"/>
                  </a:lnTo>
                  <a:lnTo>
                    <a:pt x="167" y="48"/>
                  </a:lnTo>
                  <a:lnTo>
                    <a:pt x="153" y="57"/>
                  </a:lnTo>
                  <a:lnTo>
                    <a:pt x="140" y="66"/>
                  </a:lnTo>
                  <a:lnTo>
                    <a:pt x="126" y="77"/>
                  </a:lnTo>
                  <a:lnTo>
                    <a:pt x="113" y="88"/>
                  </a:lnTo>
                  <a:lnTo>
                    <a:pt x="101" y="100"/>
                  </a:lnTo>
                  <a:lnTo>
                    <a:pt x="88" y="113"/>
                  </a:lnTo>
                  <a:lnTo>
                    <a:pt x="77" y="126"/>
                  </a:lnTo>
                  <a:lnTo>
                    <a:pt x="67" y="139"/>
                  </a:lnTo>
                  <a:lnTo>
                    <a:pt x="57" y="153"/>
                  </a:lnTo>
                  <a:lnTo>
                    <a:pt x="47" y="168"/>
                  </a:lnTo>
                  <a:lnTo>
                    <a:pt x="40" y="182"/>
                  </a:lnTo>
                  <a:lnTo>
                    <a:pt x="32" y="197"/>
                  </a:lnTo>
                  <a:lnTo>
                    <a:pt x="26" y="212"/>
                  </a:lnTo>
                  <a:lnTo>
                    <a:pt x="19" y="228"/>
                  </a:lnTo>
                  <a:lnTo>
                    <a:pt x="14" y="243"/>
                  </a:lnTo>
                  <a:lnTo>
                    <a:pt x="9" y="260"/>
                  </a:lnTo>
                  <a:lnTo>
                    <a:pt x="6" y="276"/>
                  </a:lnTo>
                  <a:lnTo>
                    <a:pt x="4" y="292"/>
                  </a:lnTo>
                  <a:lnTo>
                    <a:pt x="2" y="308"/>
                  </a:lnTo>
                  <a:lnTo>
                    <a:pt x="1" y="324"/>
                  </a:lnTo>
                  <a:lnTo>
                    <a:pt x="0" y="341"/>
                  </a:lnTo>
                  <a:lnTo>
                    <a:pt x="1" y="357"/>
                  </a:lnTo>
                  <a:lnTo>
                    <a:pt x="2" y="374"/>
                  </a:lnTo>
                  <a:lnTo>
                    <a:pt x="4" y="390"/>
                  </a:lnTo>
                  <a:lnTo>
                    <a:pt x="6" y="406"/>
                  </a:lnTo>
                  <a:lnTo>
                    <a:pt x="9" y="423"/>
                  </a:lnTo>
                  <a:lnTo>
                    <a:pt x="14" y="438"/>
                  </a:lnTo>
                  <a:lnTo>
                    <a:pt x="19" y="454"/>
                  </a:lnTo>
                  <a:lnTo>
                    <a:pt x="26" y="469"/>
                  </a:lnTo>
                  <a:lnTo>
                    <a:pt x="32" y="484"/>
                  </a:lnTo>
                  <a:lnTo>
                    <a:pt x="40" y="499"/>
                  </a:lnTo>
                  <a:lnTo>
                    <a:pt x="47" y="514"/>
                  </a:lnTo>
                  <a:lnTo>
                    <a:pt x="57" y="528"/>
                  </a:lnTo>
                  <a:lnTo>
                    <a:pt x="67" y="543"/>
                  </a:lnTo>
                  <a:lnTo>
                    <a:pt x="77" y="557"/>
                  </a:lnTo>
                  <a:lnTo>
                    <a:pt x="88" y="570"/>
                  </a:lnTo>
                  <a:lnTo>
                    <a:pt x="101" y="582"/>
                  </a:lnTo>
                  <a:lnTo>
                    <a:pt x="129" y="611"/>
                  </a:lnTo>
                  <a:lnTo>
                    <a:pt x="179" y="660"/>
                  </a:lnTo>
                  <a:lnTo>
                    <a:pt x="244" y="724"/>
                  </a:lnTo>
                  <a:lnTo>
                    <a:pt x="314" y="793"/>
                  </a:lnTo>
                  <a:lnTo>
                    <a:pt x="383" y="862"/>
                  </a:lnTo>
                  <a:lnTo>
                    <a:pt x="443" y="921"/>
                  </a:lnTo>
                  <a:lnTo>
                    <a:pt x="484" y="960"/>
                  </a:lnTo>
                  <a:lnTo>
                    <a:pt x="499" y="977"/>
                  </a:lnTo>
                  <a:lnTo>
                    <a:pt x="507" y="983"/>
                  </a:lnTo>
                  <a:lnTo>
                    <a:pt x="516" y="990"/>
                  </a:lnTo>
                  <a:lnTo>
                    <a:pt x="526" y="995"/>
                  </a:lnTo>
                  <a:lnTo>
                    <a:pt x="535" y="1000"/>
                  </a:lnTo>
                  <a:lnTo>
                    <a:pt x="545" y="1004"/>
                  </a:lnTo>
                  <a:lnTo>
                    <a:pt x="555" y="1006"/>
                  </a:lnTo>
                  <a:lnTo>
                    <a:pt x="566" y="1007"/>
                  </a:lnTo>
                  <a:lnTo>
                    <a:pt x="576" y="1008"/>
                  </a:lnTo>
                  <a:lnTo>
                    <a:pt x="586" y="1007"/>
                  </a:lnTo>
                  <a:lnTo>
                    <a:pt x="597" y="1006"/>
                  </a:lnTo>
                  <a:lnTo>
                    <a:pt x="607" y="1004"/>
                  </a:lnTo>
                  <a:lnTo>
                    <a:pt x="616" y="1000"/>
                  </a:lnTo>
                  <a:lnTo>
                    <a:pt x="626" y="995"/>
                  </a:lnTo>
                  <a:lnTo>
                    <a:pt x="636" y="990"/>
                  </a:lnTo>
                  <a:lnTo>
                    <a:pt x="644" y="983"/>
                  </a:lnTo>
                  <a:lnTo>
                    <a:pt x="653" y="977"/>
                  </a:lnTo>
                  <a:lnTo>
                    <a:pt x="669" y="959"/>
                  </a:lnTo>
                  <a:lnTo>
                    <a:pt x="715" y="915"/>
                  </a:lnTo>
                  <a:lnTo>
                    <a:pt x="777" y="852"/>
                  </a:lnTo>
                  <a:lnTo>
                    <a:pt x="851" y="781"/>
                  </a:lnTo>
                  <a:lnTo>
                    <a:pt x="923" y="709"/>
                  </a:lnTo>
                  <a:lnTo>
                    <a:pt x="987" y="646"/>
                  </a:lnTo>
                  <a:lnTo>
                    <a:pt x="1032" y="601"/>
                  </a:lnTo>
                  <a:lnTo>
                    <a:pt x="1051" y="582"/>
                  </a:lnTo>
                  <a:lnTo>
                    <a:pt x="1064" y="570"/>
                  </a:lnTo>
                  <a:lnTo>
                    <a:pt x="1074" y="557"/>
                  </a:lnTo>
                  <a:lnTo>
                    <a:pt x="1085" y="543"/>
                  </a:lnTo>
                  <a:lnTo>
                    <a:pt x="1095" y="528"/>
                  </a:lnTo>
                  <a:lnTo>
                    <a:pt x="1105" y="514"/>
                  </a:lnTo>
                  <a:lnTo>
                    <a:pt x="1112" y="499"/>
                  </a:lnTo>
                  <a:lnTo>
                    <a:pt x="1120" y="484"/>
                  </a:lnTo>
                  <a:lnTo>
                    <a:pt x="1126" y="469"/>
                  </a:lnTo>
                  <a:lnTo>
                    <a:pt x="1133" y="454"/>
                  </a:lnTo>
                  <a:lnTo>
                    <a:pt x="1138" y="438"/>
                  </a:lnTo>
                  <a:lnTo>
                    <a:pt x="1142" y="423"/>
                  </a:lnTo>
                  <a:lnTo>
                    <a:pt x="1146" y="406"/>
                  </a:lnTo>
                  <a:lnTo>
                    <a:pt x="1148" y="390"/>
                  </a:lnTo>
                  <a:lnTo>
                    <a:pt x="1150" y="374"/>
                  </a:lnTo>
                  <a:lnTo>
                    <a:pt x="1151" y="357"/>
                  </a:lnTo>
                  <a:lnTo>
                    <a:pt x="1152" y="341"/>
                  </a:lnTo>
                  <a:lnTo>
                    <a:pt x="1151" y="324"/>
                  </a:lnTo>
                  <a:lnTo>
                    <a:pt x="1150" y="308"/>
                  </a:lnTo>
                  <a:lnTo>
                    <a:pt x="1148" y="292"/>
                  </a:lnTo>
                  <a:lnTo>
                    <a:pt x="1146" y="276"/>
                  </a:lnTo>
                  <a:lnTo>
                    <a:pt x="1142" y="260"/>
                  </a:lnTo>
                  <a:lnTo>
                    <a:pt x="1138" y="243"/>
                  </a:lnTo>
                  <a:lnTo>
                    <a:pt x="1133" y="228"/>
                  </a:lnTo>
                  <a:lnTo>
                    <a:pt x="1126" y="212"/>
                  </a:lnTo>
                  <a:lnTo>
                    <a:pt x="1120" y="197"/>
                  </a:lnTo>
                  <a:lnTo>
                    <a:pt x="1112" y="182"/>
                  </a:lnTo>
                  <a:lnTo>
                    <a:pt x="1105" y="168"/>
                  </a:lnTo>
                  <a:lnTo>
                    <a:pt x="1095" y="153"/>
                  </a:lnTo>
                  <a:lnTo>
                    <a:pt x="1085" y="139"/>
                  </a:lnTo>
                  <a:lnTo>
                    <a:pt x="1074" y="126"/>
                  </a:lnTo>
                  <a:lnTo>
                    <a:pt x="1064" y="113"/>
                  </a:lnTo>
                  <a:lnTo>
                    <a:pt x="1051" y="100"/>
                  </a:lnTo>
                  <a:close/>
                </a:path>
              </a:pathLst>
            </a:custGeom>
            <a:grpFill/>
            <a:ln/>
            <a:extLst/>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en-US">
                <a:ln w="0"/>
                <a:solidFill>
                  <a:schemeClr val="accent1"/>
                </a:solidFill>
                <a:effectLst>
                  <a:outerShdw blurRad="38100" dist="25400" dir="5400000" algn="ctr" rotWithShape="0">
                    <a:srgbClr val="6E747A">
                      <a:alpha val="43000"/>
                    </a:srgbClr>
                  </a:outerShdw>
                </a:effectLst>
              </a:endParaRPr>
            </a:p>
          </p:txBody>
        </p:sp>
        <p:sp>
          <p:nvSpPr>
            <p:cNvPr id="69" name="Freeform 149"/>
            <p:cNvSpPr>
              <a:spLocks/>
            </p:cNvSpPr>
            <p:nvPr/>
          </p:nvSpPr>
          <p:spPr bwMode="auto">
            <a:xfrm>
              <a:off x="1891506" y="1939528"/>
              <a:ext cx="68263" cy="68263"/>
            </a:xfrm>
            <a:custGeom>
              <a:avLst/>
              <a:gdLst>
                <a:gd name="T0" fmla="*/ 152 w 171"/>
                <a:gd name="T1" fmla="*/ 0 h 171"/>
                <a:gd name="T2" fmla="*/ 137 w 171"/>
                <a:gd name="T3" fmla="*/ 1 h 171"/>
                <a:gd name="T4" fmla="*/ 107 w 171"/>
                <a:gd name="T5" fmla="*/ 7 h 171"/>
                <a:gd name="T6" fmla="*/ 80 w 171"/>
                <a:gd name="T7" fmla="*/ 18 h 171"/>
                <a:gd name="T8" fmla="*/ 55 w 171"/>
                <a:gd name="T9" fmla="*/ 35 h 171"/>
                <a:gd name="T10" fmla="*/ 35 w 171"/>
                <a:gd name="T11" fmla="*/ 56 h 171"/>
                <a:gd name="T12" fmla="*/ 18 w 171"/>
                <a:gd name="T13" fmla="*/ 80 h 171"/>
                <a:gd name="T14" fmla="*/ 7 w 171"/>
                <a:gd name="T15" fmla="*/ 108 h 171"/>
                <a:gd name="T16" fmla="*/ 1 w 171"/>
                <a:gd name="T17" fmla="*/ 137 h 171"/>
                <a:gd name="T18" fmla="*/ 0 w 171"/>
                <a:gd name="T19" fmla="*/ 156 h 171"/>
                <a:gd name="T20" fmla="*/ 3 w 171"/>
                <a:gd name="T21" fmla="*/ 163 h 171"/>
                <a:gd name="T22" fmla="*/ 8 w 171"/>
                <a:gd name="T23" fmla="*/ 168 h 171"/>
                <a:gd name="T24" fmla="*/ 14 w 171"/>
                <a:gd name="T25" fmla="*/ 170 h 171"/>
                <a:gd name="T26" fmla="*/ 22 w 171"/>
                <a:gd name="T27" fmla="*/ 170 h 171"/>
                <a:gd name="T28" fmla="*/ 28 w 171"/>
                <a:gd name="T29" fmla="*/ 168 h 171"/>
                <a:gd name="T30" fmla="*/ 32 w 171"/>
                <a:gd name="T31" fmla="*/ 163 h 171"/>
                <a:gd name="T32" fmla="*/ 36 w 171"/>
                <a:gd name="T33" fmla="*/ 156 h 171"/>
                <a:gd name="T34" fmla="*/ 36 w 171"/>
                <a:gd name="T35" fmla="*/ 153 h 171"/>
                <a:gd name="T36" fmla="*/ 38 w 171"/>
                <a:gd name="T37" fmla="*/ 129 h 171"/>
                <a:gd name="T38" fmla="*/ 45 w 171"/>
                <a:gd name="T39" fmla="*/ 108 h 171"/>
                <a:gd name="T40" fmla="*/ 56 w 171"/>
                <a:gd name="T41" fmla="*/ 87 h 171"/>
                <a:gd name="T42" fmla="*/ 70 w 171"/>
                <a:gd name="T43" fmla="*/ 70 h 171"/>
                <a:gd name="T44" fmla="*/ 88 w 171"/>
                <a:gd name="T45" fmla="*/ 56 h 171"/>
                <a:gd name="T46" fmla="*/ 107 w 171"/>
                <a:gd name="T47" fmla="*/ 45 h 171"/>
                <a:gd name="T48" fmla="*/ 130 w 171"/>
                <a:gd name="T49" fmla="*/ 39 h 171"/>
                <a:gd name="T50" fmla="*/ 153 w 171"/>
                <a:gd name="T51" fmla="*/ 36 h 171"/>
                <a:gd name="T52" fmla="*/ 157 w 171"/>
                <a:gd name="T53" fmla="*/ 35 h 171"/>
                <a:gd name="T54" fmla="*/ 163 w 171"/>
                <a:gd name="T55" fmla="*/ 33 h 171"/>
                <a:gd name="T56" fmla="*/ 167 w 171"/>
                <a:gd name="T57" fmla="*/ 28 h 171"/>
                <a:gd name="T58" fmla="*/ 171 w 171"/>
                <a:gd name="T59" fmla="*/ 21 h 171"/>
                <a:gd name="T60" fmla="*/ 171 w 171"/>
                <a:gd name="T61" fmla="*/ 15 h 171"/>
                <a:gd name="T62" fmla="*/ 167 w 171"/>
                <a:gd name="T63" fmla="*/ 8 h 171"/>
                <a:gd name="T64" fmla="*/ 163 w 171"/>
                <a:gd name="T65" fmla="*/ 3 h 171"/>
                <a:gd name="T66" fmla="*/ 157 w 171"/>
                <a:gd name="T67" fmla="*/ 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1" h="171">
                  <a:moveTo>
                    <a:pt x="153" y="0"/>
                  </a:moveTo>
                  <a:lnTo>
                    <a:pt x="152" y="0"/>
                  </a:lnTo>
                  <a:lnTo>
                    <a:pt x="152" y="0"/>
                  </a:lnTo>
                  <a:lnTo>
                    <a:pt x="137" y="1"/>
                  </a:lnTo>
                  <a:lnTo>
                    <a:pt x="122" y="3"/>
                  </a:lnTo>
                  <a:lnTo>
                    <a:pt x="107" y="7"/>
                  </a:lnTo>
                  <a:lnTo>
                    <a:pt x="93" y="12"/>
                  </a:lnTo>
                  <a:lnTo>
                    <a:pt x="80" y="18"/>
                  </a:lnTo>
                  <a:lnTo>
                    <a:pt x="67" y="27"/>
                  </a:lnTo>
                  <a:lnTo>
                    <a:pt x="55" y="35"/>
                  </a:lnTo>
                  <a:lnTo>
                    <a:pt x="44" y="45"/>
                  </a:lnTo>
                  <a:lnTo>
                    <a:pt x="35" y="56"/>
                  </a:lnTo>
                  <a:lnTo>
                    <a:pt x="26" y="68"/>
                  </a:lnTo>
                  <a:lnTo>
                    <a:pt x="18" y="80"/>
                  </a:lnTo>
                  <a:lnTo>
                    <a:pt x="12" y="94"/>
                  </a:lnTo>
                  <a:lnTo>
                    <a:pt x="7" y="108"/>
                  </a:lnTo>
                  <a:lnTo>
                    <a:pt x="3" y="122"/>
                  </a:lnTo>
                  <a:lnTo>
                    <a:pt x="1" y="137"/>
                  </a:lnTo>
                  <a:lnTo>
                    <a:pt x="0" y="153"/>
                  </a:lnTo>
                  <a:lnTo>
                    <a:pt x="0" y="156"/>
                  </a:lnTo>
                  <a:lnTo>
                    <a:pt x="1" y="159"/>
                  </a:lnTo>
                  <a:lnTo>
                    <a:pt x="3" y="163"/>
                  </a:lnTo>
                  <a:lnTo>
                    <a:pt x="5" y="166"/>
                  </a:lnTo>
                  <a:lnTo>
                    <a:pt x="8" y="168"/>
                  </a:lnTo>
                  <a:lnTo>
                    <a:pt x="11" y="169"/>
                  </a:lnTo>
                  <a:lnTo>
                    <a:pt x="14" y="170"/>
                  </a:lnTo>
                  <a:lnTo>
                    <a:pt x="18" y="171"/>
                  </a:lnTo>
                  <a:lnTo>
                    <a:pt x="22" y="170"/>
                  </a:lnTo>
                  <a:lnTo>
                    <a:pt x="25" y="169"/>
                  </a:lnTo>
                  <a:lnTo>
                    <a:pt x="28" y="168"/>
                  </a:lnTo>
                  <a:lnTo>
                    <a:pt x="30" y="166"/>
                  </a:lnTo>
                  <a:lnTo>
                    <a:pt x="32" y="163"/>
                  </a:lnTo>
                  <a:lnTo>
                    <a:pt x="35" y="159"/>
                  </a:lnTo>
                  <a:lnTo>
                    <a:pt x="36" y="156"/>
                  </a:lnTo>
                  <a:lnTo>
                    <a:pt x="36" y="153"/>
                  </a:lnTo>
                  <a:lnTo>
                    <a:pt x="36" y="153"/>
                  </a:lnTo>
                  <a:lnTo>
                    <a:pt x="37" y="141"/>
                  </a:lnTo>
                  <a:lnTo>
                    <a:pt x="38" y="129"/>
                  </a:lnTo>
                  <a:lnTo>
                    <a:pt x="41" y="118"/>
                  </a:lnTo>
                  <a:lnTo>
                    <a:pt x="45" y="108"/>
                  </a:lnTo>
                  <a:lnTo>
                    <a:pt x="50" y="97"/>
                  </a:lnTo>
                  <a:lnTo>
                    <a:pt x="56" y="87"/>
                  </a:lnTo>
                  <a:lnTo>
                    <a:pt x="63" y="78"/>
                  </a:lnTo>
                  <a:lnTo>
                    <a:pt x="70" y="70"/>
                  </a:lnTo>
                  <a:lnTo>
                    <a:pt x="79" y="62"/>
                  </a:lnTo>
                  <a:lnTo>
                    <a:pt x="88" y="56"/>
                  </a:lnTo>
                  <a:lnTo>
                    <a:pt x="97" y="50"/>
                  </a:lnTo>
                  <a:lnTo>
                    <a:pt x="107" y="45"/>
                  </a:lnTo>
                  <a:lnTo>
                    <a:pt x="118" y="41"/>
                  </a:lnTo>
                  <a:lnTo>
                    <a:pt x="130" y="39"/>
                  </a:lnTo>
                  <a:lnTo>
                    <a:pt x="140" y="36"/>
                  </a:lnTo>
                  <a:lnTo>
                    <a:pt x="153" y="36"/>
                  </a:lnTo>
                  <a:lnTo>
                    <a:pt x="153" y="36"/>
                  </a:lnTo>
                  <a:lnTo>
                    <a:pt x="157" y="35"/>
                  </a:lnTo>
                  <a:lnTo>
                    <a:pt x="160" y="34"/>
                  </a:lnTo>
                  <a:lnTo>
                    <a:pt x="163" y="33"/>
                  </a:lnTo>
                  <a:lnTo>
                    <a:pt x="165" y="31"/>
                  </a:lnTo>
                  <a:lnTo>
                    <a:pt x="167" y="28"/>
                  </a:lnTo>
                  <a:lnTo>
                    <a:pt x="170" y="24"/>
                  </a:lnTo>
                  <a:lnTo>
                    <a:pt x="171" y="21"/>
                  </a:lnTo>
                  <a:lnTo>
                    <a:pt x="171" y="18"/>
                  </a:lnTo>
                  <a:lnTo>
                    <a:pt x="171" y="15"/>
                  </a:lnTo>
                  <a:lnTo>
                    <a:pt x="170" y="10"/>
                  </a:lnTo>
                  <a:lnTo>
                    <a:pt x="167" y="8"/>
                  </a:lnTo>
                  <a:lnTo>
                    <a:pt x="165" y="5"/>
                  </a:lnTo>
                  <a:lnTo>
                    <a:pt x="163" y="3"/>
                  </a:lnTo>
                  <a:lnTo>
                    <a:pt x="160" y="2"/>
                  </a:lnTo>
                  <a:lnTo>
                    <a:pt x="157" y="1"/>
                  </a:lnTo>
                  <a:lnTo>
                    <a:pt x="153" y="0"/>
                  </a:lnTo>
                  <a:close/>
                </a:path>
              </a:pathLst>
            </a:custGeom>
            <a:grpFill/>
            <a:ln/>
            <a:extLst/>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en-US">
                <a:ln w="0"/>
                <a:solidFill>
                  <a:schemeClr val="accent1"/>
                </a:solidFill>
                <a:effectLst>
                  <a:outerShdw blurRad="38100" dist="25400" dir="5400000" algn="ctr" rotWithShape="0">
                    <a:srgbClr val="6E747A">
                      <a:alpha val="43000"/>
                    </a:srgbClr>
                  </a:outerShdw>
                </a:effectLst>
              </a:endParaRPr>
            </a:p>
          </p:txBody>
        </p:sp>
      </p:grpSp>
      <p:grpSp>
        <p:nvGrpSpPr>
          <p:cNvPr id="70" name="Group 69"/>
          <p:cNvGrpSpPr/>
          <p:nvPr/>
        </p:nvGrpSpPr>
        <p:grpSpPr>
          <a:xfrm>
            <a:off x="3830639" y="604575"/>
            <a:ext cx="446088" cy="417513"/>
            <a:chOff x="1200150" y="2085975"/>
            <a:chExt cx="446088" cy="417513"/>
          </a:xfrm>
          <a:solidFill>
            <a:schemeClr val="bg1">
              <a:lumMod val="75000"/>
            </a:schemeClr>
          </a:solidFill>
        </p:grpSpPr>
        <p:sp>
          <p:nvSpPr>
            <p:cNvPr id="71" name="Freeform 13"/>
            <p:cNvSpPr>
              <a:spLocks noEditPoints="1"/>
            </p:cNvSpPr>
            <p:nvPr/>
          </p:nvSpPr>
          <p:spPr bwMode="auto">
            <a:xfrm>
              <a:off x="1200150" y="2270125"/>
              <a:ext cx="446088" cy="233363"/>
            </a:xfrm>
            <a:custGeom>
              <a:avLst/>
              <a:gdLst>
                <a:gd name="T0" fmla="*/ 267 w 281"/>
                <a:gd name="T1" fmla="*/ 126 h 147"/>
                <a:gd name="T2" fmla="*/ 267 w 281"/>
                <a:gd name="T3" fmla="*/ 109 h 147"/>
                <a:gd name="T4" fmla="*/ 251 w 281"/>
                <a:gd name="T5" fmla="*/ 109 h 147"/>
                <a:gd name="T6" fmla="*/ 251 w 281"/>
                <a:gd name="T7" fmla="*/ 19 h 147"/>
                <a:gd name="T8" fmla="*/ 267 w 281"/>
                <a:gd name="T9" fmla="*/ 19 h 147"/>
                <a:gd name="T10" fmla="*/ 267 w 281"/>
                <a:gd name="T11" fmla="*/ 0 h 147"/>
                <a:gd name="T12" fmla="*/ 14 w 281"/>
                <a:gd name="T13" fmla="*/ 0 h 147"/>
                <a:gd name="T14" fmla="*/ 14 w 281"/>
                <a:gd name="T15" fmla="*/ 19 h 147"/>
                <a:gd name="T16" fmla="*/ 30 w 281"/>
                <a:gd name="T17" fmla="*/ 19 h 147"/>
                <a:gd name="T18" fmla="*/ 30 w 281"/>
                <a:gd name="T19" fmla="*/ 109 h 147"/>
                <a:gd name="T20" fmla="*/ 14 w 281"/>
                <a:gd name="T21" fmla="*/ 109 h 147"/>
                <a:gd name="T22" fmla="*/ 14 w 281"/>
                <a:gd name="T23" fmla="*/ 126 h 147"/>
                <a:gd name="T24" fmla="*/ 0 w 281"/>
                <a:gd name="T25" fmla="*/ 126 h 147"/>
                <a:gd name="T26" fmla="*/ 0 w 281"/>
                <a:gd name="T27" fmla="*/ 147 h 147"/>
                <a:gd name="T28" fmla="*/ 281 w 281"/>
                <a:gd name="T29" fmla="*/ 147 h 147"/>
                <a:gd name="T30" fmla="*/ 281 w 281"/>
                <a:gd name="T31" fmla="*/ 126 h 147"/>
                <a:gd name="T32" fmla="*/ 267 w 281"/>
                <a:gd name="T33" fmla="*/ 126 h 147"/>
                <a:gd name="T34" fmla="*/ 92 w 281"/>
                <a:gd name="T35" fmla="*/ 109 h 147"/>
                <a:gd name="T36" fmla="*/ 62 w 281"/>
                <a:gd name="T37" fmla="*/ 109 h 147"/>
                <a:gd name="T38" fmla="*/ 62 w 281"/>
                <a:gd name="T39" fmla="*/ 19 h 147"/>
                <a:gd name="T40" fmla="*/ 92 w 281"/>
                <a:gd name="T41" fmla="*/ 19 h 147"/>
                <a:gd name="T42" fmla="*/ 92 w 281"/>
                <a:gd name="T43" fmla="*/ 109 h 147"/>
                <a:gd name="T44" fmla="*/ 155 w 281"/>
                <a:gd name="T45" fmla="*/ 109 h 147"/>
                <a:gd name="T46" fmla="*/ 125 w 281"/>
                <a:gd name="T47" fmla="*/ 109 h 147"/>
                <a:gd name="T48" fmla="*/ 125 w 281"/>
                <a:gd name="T49" fmla="*/ 19 h 147"/>
                <a:gd name="T50" fmla="*/ 155 w 281"/>
                <a:gd name="T51" fmla="*/ 19 h 147"/>
                <a:gd name="T52" fmla="*/ 155 w 281"/>
                <a:gd name="T53" fmla="*/ 109 h 147"/>
                <a:gd name="T54" fmla="*/ 218 w 281"/>
                <a:gd name="T55" fmla="*/ 109 h 147"/>
                <a:gd name="T56" fmla="*/ 188 w 281"/>
                <a:gd name="T57" fmla="*/ 109 h 147"/>
                <a:gd name="T58" fmla="*/ 188 w 281"/>
                <a:gd name="T59" fmla="*/ 19 h 147"/>
                <a:gd name="T60" fmla="*/ 218 w 281"/>
                <a:gd name="T61" fmla="*/ 19 h 147"/>
                <a:gd name="T62" fmla="*/ 218 w 281"/>
                <a:gd name="T63" fmla="*/ 10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1" h="147">
                  <a:moveTo>
                    <a:pt x="267" y="126"/>
                  </a:moveTo>
                  <a:lnTo>
                    <a:pt x="267" y="109"/>
                  </a:lnTo>
                  <a:lnTo>
                    <a:pt x="251" y="109"/>
                  </a:lnTo>
                  <a:lnTo>
                    <a:pt x="251" y="19"/>
                  </a:lnTo>
                  <a:lnTo>
                    <a:pt x="267" y="19"/>
                  </a:lnTo>
                  <a:lnTo>
                    <a:pt x="267" y="0"/>
                  </a:lnTo>
                  <a:lnTo>
                    <a:pt x="14" y="0"/>
                  </a:lnTo>
                  <a:lnTo>
                    <a:pt x="14" y="19"/>
                  </a:lnTo>
                  <a:lnTo>
                    <a:pt x="30" y="19"/>
                  </a:lnTo>
                  <a:lnTo>
                    <a:pt x="30" y="109"/>
                  </a:lnTo>
                  <a:lnTo>
                    <a:pt x="14" y="109"/>
                  </a:lnTo>
                  <a:lnTo>
                    <a:pt x="14" y="126"/>
                  </a:lnTo>
                  <a:lnTo>
                    <a:pt x="0" y="126"/>
                  </a:lnTo>
                  <a:lnTo>
                    <a:pt x="0" y="147"/>
                  </a:lnTo>
                  <a:lnTo>
                    <a:pt x="281" y="147"/>
                  </a:lnTo>
                  <a:lnTo>
                    <a:pt x="281" y="126"/>
                  </a:lnTo>
                  <a:lnTo>
                    <a:pt x="267" y="126"/>
                  </a:lnTo>
                  <a:close/>
                  <a:moveTo>
                    <a:pt x="92" y="109"/>
                  </a:moveTo>
                  <a:lnTo>
                    <a:pt x="62" y="109"/>
                  </a:lnTo>
                  <a:lnTo>
                    <a:pt x="62" y="19"/>
                  </a:lnTo>
                  <a:lnTo>
                    <a:pt x="92" y="19"/>
                  </a:lnTo>
                  <a:lnTo>
                    <a:pt x="92" y="109"/>
                  </a:lnTo>
                  <a:close/>
                  <a:moveTo>
                    <a:pt x="155" y="109"/>
                  </a:moveTo>
                  <a:lnTo>
                    <a:pt x="125" y="109"/>
                  </a:lnTo>
                  <a:lnTo>
                    <a:pt x="125" y="19"/>
                  </a:lnTo>
                  <a:lnTo>
                    <a:pt x="155" y="19"/>
                  </a:lnTo>
                  <a:lnTo>
                    <a:pt x="155" y="109"/>
                  </a:lnTo>
                  <a:close/>
                  <a:moveTo>
                    <a:pt x="218" y="109"/>
                  </a:moveTo>
                  <a:lnTo>
                    <a:pt x="188" y="109"/>
                  </a:lnTo>
                  <a:lnTo>
                    <a:pt x="188" y="19"/>
                  </a:lnTo>
                  <a:lnTo>
                    <a:pt x="218" y="19"/>
                  </a:lnTo>
                  <a:lnTo>
                    <a:pt x="218" y="109"/>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72" name="Freeform 14"/>
            <p:cNvSpPr>
              <a:spLocks noEditPoints="1"/>
            </p:cNvSpPr>
            <p:nvPr/>
          </p:nvSpPr>
          <p:spPr bwMode="auto">
            <a:xfrm>
              <a:off x="1200150" y="2085975"/>
              <a:ext cx="446088" cy="163513"/>
            </a:xfrm>
            <a:custGeom>
              <a:avLst/>
              <a:gdLst>
                <a:gd name="T0" fmla="*/ 140 w 281"/>
                <a:gd name="T1" fmla="*/ 0 h 103"/>
                <a:gd name="T2" fmla="*/ 0 w 281"/>
                <a:gd name="T3" fmla="*/ 95 h 103"/>
                <a:gd name="T4" fmla="*/ 0 w 281"/>
                <a:gd name="T5" fmla="*/ 103 h 103"/>
                <a:gd name="T6" fmla="*/ 281 w 281"/>
                <a:gd name="T7" fmla="*/ 103 h 103"/>
                <a:gd name="T8" fmla="*/ 281 w 281"/>
                <a:gd name="T9" fmla="*/ 95 h 103"/>
                <a:gd name="T10" fmla="*/ 140 w 281"/>
                <a:gd name="T11" fmla="*/ 0 h 103"/>
                <a:gd name="T12" fmla="*/ 190 w 281"/>
                <a:gd name="T13" fmla="*/ 74 h 103"/>
                <a:gd name="T14" fmla="*/ 91 w 281"/>
                <a:gd name="T15" fmla="*/ 74 h 103"/>
                <a:gd name="T16" fmla="*/ 91 w 281"/>
                <a:gd name="T17" fmla="*/ 71 h 103"/>
                <a:gd name="T18" fmla="*/ 140 w 281"/>
                <a:gd name="T19" fmla="*/ 38 h 103"/>
                <a:gd name="T20" fmla="*/ 190 w 281"/>
                <a:gd name="T21" fmla="*/ 71 h 103"/>
                <a:gd name="T22" fmla="*/ 190 w 281"/>
                <a:gd name="T23" fmla="*/ 7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103">
                  <a:moveTo>
                    <a:pt x="140" y="0"/>
                  </a:moveTo>
                  <a:lnTo>
                    <a:pt x="0" y="95"/>
                  </a:lnTo>
                  <a:lnTo>
                    <a:pt x="0" y="103"/>
                  </a:lnTo>
                  <a:lnTo>
                    <a:pt x="281" y="103"/>
                  </a:lnTo>
                  <a:lnTo>
                    <a:pt x="281" y="95"/>
                  </a:lnTo>
                  <a:lnTo>
                    <a:pt x="140" y="0"/>
                  </a:lnTo>
                  <a:close/>
                  <a:moveTo>
                    <a:pt x="190" y="74"/>
                  </a:moveTo>
                  <a:lnTo>
                    <a:pt x="91" y="74"/>
                  </a:lnTo>
                  <a:lnTo>
                    <a:pt x="91" y="71"/>
                  </a:lnTo>
                  <a:lnTo>
                    <a:pt x="140" y="38"/>
                  </a:lnTo>
                  <a:lnTo>
                    <a:pt x="190" y="71"/>
                  </a:lnTo>
                  <a:lnTo>
                    <a:pt x="190" y="74"/>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en-AU">
                <a:solidFill>
                  <a:schemeClr val="bg1"/>
                </a:solidFill>
              </a:endParaRPr>
            </a:p>
          </p:txBody>
        </p:sp>
      </p:grpSp>
      <p:grpSp>
        <p:nvGrpSpPr>
          <p:cNvPr id="73" name="Group 72"/>
          <p:cNvGrpSpPr/>
          <p:nvPr/>
        </p:nvGrpSpPr>
        <p:grpSpPr>
          <a:xfrm>
            <a:off x="6166150" y="3983774"/>
            <a:ext cx="446087" cy="414338"/>
            <a:chOff x="3767138" y="6329363"/>
            <a:chExt cx="446087" cy="414338"/>
          </a:xfrm>
          <a:solidFill>
            <a:schemeClr val="bg1"/>
          </a:solidFill>
        </p:grpSpPr>
        <p:sp>
          <p:nvSpPr>
            <p:cNvPr id="74" name="Freeform 229"/>
            <p:cNvSpPr>
              <a:spLocks/>
            </p:cNvSpPr>
            <p:nvPr/>
          </p:nvSpPr>
          <p:spPr bwMode="auto">
            <a:xfrm>
              <a:off x="3767138" y="6329363"/>
              <a:ext cx="382588" cy="414338"/>
            </a:xfrm>
            <a:custGeom>
              <a:avLst/>
              <a:gdLst>
                <a:gd name="T0" fmla="*/ 476 w 497"/>
                <a:gd name="T1" fmla="*/ 422 h 538"/>
                <a:gd name="T2" fmla="*/ 497 w 497"/>
                <a:gd name="T3" fmla="*/ 440 h 538"/>
                <a:gd name="T4" fmla="*/ 497 w 497"/>
                <a:gd name="T5" fmla="*/ 470 h 538"/>
                <a:gd name="T6" fmla="*/ 430 w 497"/>
                <a:gd name="T7" fmla="*/ 538 h 538"/>
                <a:gd name="T8" fmla="*/ 67 w 497"/>
                <a:gd name="T9" fmla="*/ 538 h 538"/>
                <a:gd name="T10" fmla="*/ 0 w 497"/>
                <a:gd name="T11" fmla="*/ 470 h 538"/>
                <a:gd name="T12" fmla="*/ 0 w 497"/>
                <a:gd name="T13" fmla="*/ 125 h 538"/>
                <a:gd name="T14" fmla="*/ 0 w 497"/>
                <a:gd name="T15" fmla="*/ 125 h 538"/>
                <a:gd name="T16" fmla="*/ 5 w 497"/>
                <a:gd name="T17" fmla="*/ 113 h 538"/>
                <a:gd name="T18" fmla="*/ 107 w 497"/>
                <a:gd name="T19" fmla="*/ 6 h 538"/>
                <a:gd name="T20" fmla="*/ 120 w 497"/>
                <a:gd name="T21" fmla="*/ 0 h 538"/>
                <a:gd name="T22" fmla="*/ 120 w 497"/>
                <a:gd name="T23" fmla="*/ 0 h 538"/>
                <a:gd name="T24" fmla="*/ 430 w 497"/>
                <a:gd name="T25" fmla="*/ 0 h 538"/>
                <a:gd name="T26" fmla="*/ 497 w 497"/>
                <a:gd name="T27" fmla="*/ 68 h 538"/>
                <a:gd name="T28" fmla="*/ 497 w 497"/>
                <a:gd name="T29" fmla="*/ 137 h 538"/>
                <a:gd name="T30" fmla="*/ 475 w 497"/>
                <a:gd name="T31" fmla="*/ 134 h 538"/>
                <a:gd name="T32" fmla="*/ 462 w 497"/>
                <a:gd name="T33" fmla="*/ 135 h 538"/>
                <a:gd name="T34" fmla="*/ 462 w 497"/>
                <a:gd name="T35" fmla="*/ 68 h 538"/>
                <a:gd name="T36" fmla="*/ 430 w 497"/>
                <a:gd name="T37" fmla="*/ 35 h 538"/>
                <a:gd name="T38" fmla="*/ 137 w 497"/>
                <a:gd name="T39" fmla="*/ 35 h 538"/>
                <a:gd name="T40" fmla="*/ 137 w 497"/>
                <a:gd name="T41" fmla="*/ 75 h 538"/>
                <a:gd name="T42" fmla="*/ 70 w 497"/>
                <a:gd name="T43" fmla="*/ 143 h 538"/>
                <a:gd name="T44" fmla="*/ 35 w 497"/>
                <a:gd name="T45" fmla="*/ 143 h 538"/>
                <a:gd name="T46" fmla="*/ 35 w 497"/>
                <a:gd name="T47" fmla="*/ 470 h 538"/>
                <a:gd name="T48" fmla="*/ 67 w 497"/>
                <a:gd name="T49" fmla="*/ 503 h 538"/>
                <a:gd name="T50" fmla="*/ 430 w 497"/>
                <a:gd name="T51" fmla="*/ 503 h 538"/>
                <a:gd name="T52" fmla="*/ 462 w 497"/>
                <a:gd name="T53" fmla="*/ 470 h 538"/>
                <a:gd name="T54" fmla="*/ 462 w 497"/>
                <a:gd name="T55" fmla="*/ 433 h 538"/>
                <a:gd name="T56" fmla="*/ 476 w 497"/>
                <a:gd name="T57" fmla="*/ 422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97" h="538">
                  <a:moveTo>
                    <a:pt x="476" y="422"/>
                  </a:moveTo>
                  <a:cubicBezTo>
                    <a:pt x="497" y="440"/>
                    <a:pt x="497" y="440"/>
                    <a:pt x="497" y="440"/>
                  </a:cubicBezTo>
                  <a:cubicBezTo>
                    <a:pt x="497" y="470"/>
                    <a:pt x="497" y="470"/>
                    <a:pt x="497" y="470"/>
                  </a:cubicBezTo>
                  <a:cubicBezTo>
                    <a:pt x="497" y="507"/>
                    <a:pt x="467" y="538"/>
                    <a:pt x="430" y="538"/>
                  </a:cubicBezTo>
                  <a:cubicBezTo>
                    <a:pt x="67" y="538"/>
                    <a:pt x="67" y="538"/>
                    <a:pt x="67" y="538"/>
                  </a:cubicBezTo>
                  <a:cubicBezTo>
                    <a:pt x="30" y="538"/>
                    <a:pt x="0" y="507"/>
                    <a:pt x="0" y="470"/>
                  </a:cubicBezTo>
                  <a:cubicBezTo>
                    <a:pt x="0" y="125"/>
                    <a:pt x="0" y="125"/>
                    <a:pt x="0" y="125"/>
                  </a:cubicBezTo>
                  <a:cubicBezTo>
                    <a:pt x="0" y="125"/>
                    <a:pt x="0" y="125"/>
                    <a:pt x="0" y="125"/>
                  </a:cubicBezTo>
                  <a:cubicBezTo>
                    <a:pt x="0" y="121"/>
                    <a:pt x="2" y="117"/>
                    <a:pt x="5" y="113"/>
                  </a:cubicBezTo>
                  <a:cubicBezTo>
                    <a:pt x="107" y="6"/>
                    <a:pt x="107" y="6"/>
                    <a:pt x="107" y="6"/>
                  </a:cubicBezTo>
                  <a:cubicBezTo>
                    <a:pt x="111" y="2"/>
                    <a:pt x="115" y="0"/>
                    <a:pt x="120" y="0"/>
                  </a:cubicBezTo>
                  <a:cubicBezTo>
                    <a:pt x="120" y="0"/>
                    <a:pt x="120" y="0"/>
                    <a:pt x="120" y="0"/>
                  </a:cubicBezTo>
                  <a:cubicBezTo>
                    <a:pt x="430" y="0"/>
                    <a:pt x="430" y="0"/>
                    <a:pt x="430" y="0"/>
                  </a:cubicBezTo>
                  <a:cubicBezTo>
                    <a:pt x="467" y="0"/>
                    <a:pt x="497" y="31"/>
                    <a:pt x="497" y="68"/>
                  </a:cubicBezTo>
                  <a:cubicBezTo>
                    <a:pt x="497" y="137"/>
                    <a:pt x="497" y="137"/>
                    <a:pt x="497" y="137"/>
                  </a:cubicBezTo>
                  <a:cubicBezTo>
                    <a:pt x="490" y="135"/>
                    <a:pt x="483" y="134"/>
                    <a:pt x="475" y="134"/>
                  </a:cubicBezTo>
                  <a:cubicBezTo>
                    <a:pt x="471" y="134"/>
                    <a:pt x="467" y="135"/>
                    <a:pt x="462" y="135"/>
                  </a:cubicBezTo>
                  <a:cubicBezTo>
                    <a:pt x="462" y="68"/>
                    <a:pt x="462" y="68"/>
                    <a:pt x="462" y="68"/>
                  </a:cubicBezTo>
                  <a:cubicBezTo>
                    <a:pt x="462" y="50"/>
                    <a:pt x="448" y="35"/>
                    <a:pt x="430" y="35"/>
                  </a:cubicBezTo>
                  <a:cubicBezTo>
                    <a:pt x="137" y="35"/>
                    <a:pt x="137" y="35"/>
                    <a:pt x="137" y="35"/>
                  </a:cubicBezTo>
                  <a:cubicBezTo>
                    <a:pt x="137" y="75"/>
                    <a:pt x="137" y="75"/>
                    <a:pt x="137" y="75"/>
                  </a:cubicBezTo>
                  <a:cubicBezTo>
                    <a:pt x="137" y="113"/>
                    <a:pt x="107" y="143"/>
                    <a:pt x="70" y="143"/>
                  </a:cubicBezTo>
                  <a:cubicBezTo>
                    <a:pt x="35" y="143"/>
                    <a:pt x="35" y="143"/>
                    <a:pt x="35" y="143"/>
                  </a:cubicBezTo>
                  <a:cubicBezTo>
                    <a:pt x="35" y="470"/>
                    <a:pt x="35" y="470"/>
                    <a:pt x="35" y="470"/>
                  </a:cubicBezTo>
                  <a:cubicBezTo>
                    <a:pt x="35" y="488"/>
                    <a:pt x="50" y="503"/>
                    <a:pt x="67" y="503"/>
                  </a:cubicBezTo>
                  <a:cubicBezTo>
                    <a:pt x="430" y="503"/>
                    <a:pt x="430" y="503"/>
                    <a:pt x="430" y="503"/>
                  </a:cubicBezTo>
                  <a:cubicBezTo>
                    <a:pt x="448" y="503"/>
                    <a:pt x="462" y="488"/>
                    <a:pt x="462" y="470"/>
                  </a:cubicBezTo>
                  <a:cubicBezTo>
                    <a:pt x="462" y="433"/>
                    <a:pt x="462" y="433"/>
                    <a:pt x="462" y="433"/>
                  </a:cubicBezTo>
                  <a:lnTo>
                    <a:pt x="476" y="4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75" name="Freeform 230"/>
            <p:cNvSpPr>
              <a:spLocks/>
            </p:cNvSpPr>
            <p:nvPr/>
          </p:nvSpPr>
          <p:spPr bwMode="auto">
            <a:xfrm>
              <a:off x="3844925" y="6446838"/>
              <a:ext cx="187325" cy="22225"/>
            </a:xfrm>
            <a:custGeom>
              <a:avLst/>
              <a:gdLst>
                <a:gd name="T0" fmla="*/ 229 w 243"/>
                <a:gd name="T1" fmla="*/ 0 h 28"/>
                <a:gd name="T2" fmla="*/ 14 w 243"/>
                <a:gd name="T3" fmla="*/ 0 h 28"/>
                <a:gd name="T4" fmla="*/ 0 w 243"/>
                <a:gd name="T5" fmla="*/ 14 h 28"/>
                <a:gd name="T6" fmla="*/ 14 w 243"/>
                <a:gd name="T7" fmla="*/ 28 h 28"/>
                <a:gd name="T8" fmla="*/ 229 w 243"/>
                <a:gd name="T9" fmla="*/ 28 h 28"/>
                <a:gd name="T10" fmla="*/ 243 w 243"/>
                <a:gd name="T11" fmla="*/ 14 h 28"/>
                <a:gd name="T12" fmla="*/ 229 w 243"/>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43" h="28">
                  <a:moveTo>
                    <a:pt x="229" y="0"/>
                  </a:moveTo>
                  <a:cubicBezTo>
                    <a:pt x="14" y="0"/>
                    <a:pt x="14" y="0"/>
                    <a:pt x="14" y="0"/>
                  </a:cubicBezTo>
                  <a:cubicBezTo>
                    <a:pt x="6" y="0"/>
                    <a:pt x="0" y="6"/>
                    <a:pt x="0" y="14"/>
                  </a:cubicBezTo>
                  <a:cubicBezTo>
                    <a:pt x="0" y="22"/>
                    <a:pt x="6" y="28"/>
                    <a:pt x="14" y="28"/>
                  </a:cubicBezTo>
                  <a:cubicBezTo>
                    <a:pt x="229" y="28"/>
                    <a:pt x="229" y="28"/>
                    <a:pt x="229" y="28"/>
                  </a:cubicBezTo>
                  <a:cubicBezTo>
                    <a:pt x="237" y="28"/>
                    <a:pt x="243" y="22"/>
                    <a:pt x="243" y="14"/>
                  </a:cubicBezTo>
                  <a:cubicBezTo>
                    <a:pt x="243" y="6"/>
                    <a:pt x="237" y="0"/>
                    <a:pt x="22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76" name="Freeform 231"/>
            <p:cNvSpPr>
              <a:spLocks/>
            </p:cNvSpPr>
            <p:nvPr/>
          </p:nvSpPr>
          <p:spPr bwMode="auto">
            <a:xfrm>
              <a:off x="3844925" y="6497638"/>
              <a:ext cx="187325" cy="22225"/>
            </a:xfrm>
            <a:custGeom>
              <a:avLst/>
              <a:gdLst>
                <a:gd name="T0" fmla="*/ 14 w 243"/>
                <a:gd name="T1" fmla="*/ 29 h 29"/>
                <a:gd name="T2" fmla="*/ 229 w 243"/>
                <a:gd name="T3" fmla="*/ 29 h 29"/>
                <a:gd name="T4" fmla="*/ 243 w 243"/>
                <a:gd name="T5" fmla="*/ 15 h 29"/>
                <a:gd name="T6" fmla="*/ 229 w 243"/>
                <a:gd name="T7" fmla="*/ 0 h 29"/>
                <a:gd name="T8" fmla="*/ 14 w 243"/>
                <a:gd name="T9" fmla="*/ 0 h 29"/>
                <a:gd name="T10" fmla="*/ 0 w 243"/>
                <a:gd name="T11" fmla="*/ 15 h 29"/>
                <a:gd name="T12" fmla="*/ 14 w 243"/>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43" h="29">
                  <a:moveTo>
                    <a:pt x="14" y="29"/>
                  </a:moveTo>
                  <a:cubicBezTo>
                    <a:pt x="229" y="29"/>
                    <a:pt x="229" y="29"/>
                    <a:pt x="229" y="29"/>
                  </a:cubicBezTo>
                  <a:cubicBezTo>
                    <a:pt x="237" y="29"/>
                    <a:pt x="243" y="22"/>
                    <a:pt x="243" y="15"/>
                  </a:cubicBezTo>
                  <a:cubicBezTo>
                    <a:pt x="243" y="7"/>
                    <a:pt x="237" y="0"/>
                    <a:pt x="229" y="0"/>
                  </a:cubicBezTo>
                  <a:cubicBezTo>
                    <a:pt x="14" y="0"/>
                    <a:pt x="14" y="0"/>
                    <a:pt x="14" y="0"/>
                  </a:cubicBezTo>
                  <a:cubicBezTo>
                    <a:pt x="6" y="0"/>
                    <a:pt x="0" y="7"/>
                    <a:pt x="0" y="15"/>
                  </a:cubicBezTo>
                  <a:cubicBezTo>
                    <a:pt x="0" y="22"/>
                    <a:pt x="6" y="29"/>
                    <a:pt x="14" y="2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77" name="Freeform 232"/>
            <p:cNvSpPr>
              <a:spLocks/>
            </p:cNvSpPr>
            <p:nvPr/>
          </p:nvSpPr>
          <p:spPr bwMode="auto">
            <a:xfrm>
              <a:off x="3844925" y="6550025"/>
              <a:ext cx="187325" cy="22225"/>
            </a:xfrm>
            <a:custGeom>
              <a:avLst/>
              <a:gdLst>
                <a:gd name="T0" fmla="*/ 14 w 243"/>
                <a:gd name="T1" fmla="*/ 28 h 28"/>
                <a:gd name="T2" fmla="*/ 229 w 243"/>
                <a:gd name="T3" fmla="*/ 28 h 28"/>
                <a:gd name="T4" fmla="*/ 243 w 243"/>
                <a:gd name="T5" fmla="*/ 14 h 28"/>
                <a:gd name="T6" fmla="*/ 229 w 243"/>
                <a:gd name="T7" fmla="*/ 0 h 28"/>
                <a:gd name="T8" fmla="*/ 14 w 243"/>
                <a:gd name="T9" fmla="*/ 0 h 28"/>
                <a:gd name="T10" fmla="*/ 0 w 243"/>
                <a:gd name="T11" fmla="*/ 14 h 28"/>
                <a:gd name="T12" fmla="*/ 14 w 243"/>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43" h="28">
                  <a:moveTo>
                    <a:pt x="14" y="28"/>
                  </a:moveTo>
                  <a:cubicBezTo>
                    <a:pt x="229" y="28"/>
                    <a:pt x="229" y="28"/>
                    <a:pt x="229" y="28"/>
                  </a:cubicBezTo>
                  <a:cubicBezTo>
                    <a:pt x="237" y="28"/>
                    <a:pt x="243" y="22"/>
                    <a:pt x="243" y="14"/>
                  </a:cubicBezTo>
                  <a:cubicBezTo>
                    <a:pt x="243" y="6"/>
                    <a:pt x="237" y="0"/>
                    <a:pt x="229" y="0"/>
                  </a:cubicBezTo>
                  <a:cubicBezTo>
                    <a:pt x="14" y="0"/>
                    <a:pt x="14" y="0"/>
                    <a:pt x="14" y="0"/>
                  </a:cubicBezTo>
                  <a:cubicBezTo>
                    <a:pt x="6" y="0"/>
                    <a:pt x="0" y="6"/>
                    <a:pt x="0" y="14"/>
                  </a:cubicBezTo>
                  <a:cubicBezTo>
                    <a:pt x="0" y="22"/>
                    <a:pt x="6" y="28"/>
                    <a:pt x="14"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78" name="Freeform 233"/>
            <p:cNvSpPr>
              <a:spLocks/>
            </p:cNvSpPr>
            <p:nvPr/>
          </p:nvSpPr>
          <p:spPr bwMode="auto">
            <a:xfrm>
              <a:off x="3844925" y="6602413"/>
              <a:ext cx="225425" cy="22225"/>
            </a:xfrm>
            <a:custGeom>
              <a:avLst/>
              <a:gdLst>
                <a:gd name="T0" fmla="*/ 279 w 293"/>
                <a:gd name="T1" fmla="*/ 0 h 29"/>
                <a:gd name="T2" fmla="*/ 14 w 293"/>
                <a:gd name="T3" fmla="*/ 0 h 29"/>
                <a:gd name="T4" fmla="*/ 0 w 293"/>
                <a:gd name="T5" fmla="*/ 15 h 29"/>
                <a:gd name="T6" fmla="*/ 14 w 293"/>
                <a:gd name="T7" fmla="*/ 29 h 29"/>
                <a:gd name="T8" fmla="*/ 279 w 293"/>
                <a:gd name="T9" fmla="*/ 29 h 29"/>
                <a:gd name="T10" fmla="*/ 293 w 293"/>
                <a:gd name="T11" fmla="*/ 15 h 29"/>
                <a:gd name="T12" fmla="*/ 279 w 29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293" h="29">
                  <a:moveTo>
                    <a:pt x="279" y="0"/>
                  </a:moveTo>
                  <a:cubicBezTo>
                    <a:pt x="14" y="0"/>
                    <a:pt x="14" y="0"/>
                    <a:pt x="14" y="0"/>
                  </a:cubicBezTo>
                  <a:cubicBezTo>
                    <a:pt x="6" y="0"/>
                    <a:pt x="0" y="7"/>
                    <a:pt x="0" y="15"/>
                  </a:cubicBezTo>
                  <a:cubicBezTo>
                    <a:pt x="0" y="22"/>
                    <a:pt x="6" y="29"/>
                    <a:pt x="14" y="29"/>
                  </a:cubicBezTo>
                  <a:cubicBezTo>
                    <a:pt x="279" y="29"/>
                    <a:pt x="279" y="29"/>
                    <a:pt x="279" y="29"/>
                  </a:cubicBezTo>
                  <a:cubicBezTo>
                    <a:pt x="287" y="29"/>
                    <a:pt x="293" y="22"/>
                    <a:pt x="293" y="15"/>
                  </a:cubicBezTo>
                  <a:cubicBezTo>
                    <a:pt x="293" y="7"/>
                    <a:pt x="287" y="0"/>
                    <a:pt x="27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79" name="Freeform 234"/>
            <p:cNvSpPr>
              <a:spLocks/>
            </p:cNvSpPr>
            <p:nvPr/>
          </p:nvSpPr>
          <p:spPr bwMode="auto">
            <a:xfrm>
              <a:off x="3844925" y="6654800"/>
              <a:ext cx="225425" cy="20638"/>
            </a:xfrm>
            <a:custGeom>
              <a:avLst/>
              <a:gdLst>
                <a:gd name="T0" fmla="*/ 279 w 293"/>
                <a:gd name="T1" fmla="*/ 0 h 28"/>
                <a:gd name="T2" fmla="*/ 14 w 293"/>
                <a:gd name="T3" fmla="*/ 0 h 28"/>
                <a:gd name="T4" fmla="*/ 0 w 293"/>
                <a:gd name="T5" fmla="*/ 14 h 28"/>
                <a:gd name="T6" fmla="*/ 14 w 293"/>
                <a:gd name="T7" fmla="*/ 28 h 28"/>
                <a:gd name="T8" fmla="*/ 279 w 293"/>
                <a:gd name="T9" fmla="*/ 28 h 28"/>
                <a:gd name="T10" fmla="*/ 293 w 293"/>
                <a:gd name="T11" fmla="*/ 14 h 28"/>
                <a:gd name="T12" fmla="*/ 279 w 293"/>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93" h="28">
                  <a:moveTo>
                    <a:pt x="279" y="0"/>
                  </a:moveTo>
                  <a:cubicBezTo>
                    <a:pt x="14" y="0"/>
                    <a:pt x="14" y="0"/>
                    <a:pt x="14" y="0"/>
                  </a:cubicBezTo>
                  <a:cubicBezTo>
                    <a:pt x="6" y="0"/>
                    <a:pt x="0" y="6"/>
                    <a:pt x="0" y="14"/>
                  </a:cubicBezTo>
                  <a:cubicBezTo>
                    <a:pt x="0" y="22"/>
                    <a:pt x="6" y="28"/>
                    <a:pt x="14" y="28"/>
                  </a:cubicBezTo>
                  <a:cubicBezTo>
                    <a:pt x="279" y="28"/>
                    <a:pt x="279" y="28"/>
                    <a:pt x="279" y="28"/>
                  </a:cubicBezTo>
                  <a:cubicBezTo>
                    <a:pt x="287" y="28"/>
                    <a:pt x="293" y="22"/>
                    <a:pt x="293" y="14"/>
                  </a:cubicBezTo>
                  <a:cubicBezTo>
                    <a:pt x="293" y="6"/>
                    <a:pt x="287" y="0"/>
                    <a:pt x="27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80" name="Freeform 235"/>
            <p:cNvSpPr>
              <a:spLocks noEditPoints="1"/>
            </p:cNvSpPr>
            <p:nvPr/>
          </p:nvSpPr>
          <p:spPr bwMode="auto">
            <a:xfrm>
              <a:off x="4051300" y="6445250"/>
              <a:ext cx="161925" cy="227013"/>
            </a:xfrm>
            <a:custGeom>
              <a:avLst/>
              <a:gdLst>
                <a:gd name="T0" fmla="*/ 105 w 211"/>
                <a:gd name="T1" fmla="*/ 0 h 296"/>
                <a:gd name="T2" fmla="*/ 0 w 211"/>
                <a:gd name="T3" fmla="*/ 106 h 296"/>
                <a:gd name="T4" fmla="*/ 52 w 211"/>
                <a:gd name="T5" fmla="*/ 197 h 296"/>
                <a:gd name="T6" fmla="*/ 52 w 211"/>
                <a:gd name="T7" fmla="*/ 296 h 296"/>
                <a:gd name="T8" fmla="*/ 106 w 211"/>
                <a:gd name="T9" fmla="*/ 254 h 296"/>
                <a:gd name="T10" fmla="*/ 159 w 211"/>
                <a:gd name="T11" fmla="*/ 296 h 296"/>
                <a:gd name="T12" fmla="*/ 159 w 211"/>
                <a:gd name="T13" fmla="*/ 197 h 296"/>
                <a:gd name="T14" fmla="*/ 211 w 211"/>
                <a:gd name="T15" fmla="*/ 106 h 296"/>
                <a:gd name="T16" fmla="*/ 105 w 211"/>
                <a:gd name="T17" fmla="*/ 0 h 296"/>
                <a:gd name="T18" fmla="*/ 105 w 211"/>
                <a:gd name="T19" fmla="*/ 196 h 296"/>
                <a:gd name="T20" fmla="*/ 15 w 211"/>
                <a:gd name="T21" fmla="*/ 106 h 296"/>
                <a:gd name="T22" fmla="*/ 105 w 211"/>
                <a:gd name="T23" fmla="*/ 16 h 296"/>
                <a:gd name="T24" fmla="*/ 195 w 211"/>
                <a:gd name="T25" fmla="*/ 106 h 296"/>
                <a:gd name="T26" fmla="*/ 105 w 211"/>
                <a:gd name="T27" fmla="*/ 19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296">
                  <a:moveTo>
                    <a:pt x="105" y="0"/>
                  </a:moveTo>
                  <a:cubicBezTo>
                    <a:pt x="47" y="0"/>
                    <a:pt x="0" y="48"/>
                    <a:pt x="0" y="106"/>
                  </a:cubicBezTo>
                  <a:cubicBezTo>
                    <a:pt x="0" y="145"/>
                    <a:pt x="21" y="179"/>
                    <a:pt x="52" y="197"/>
                  </a:cubicBezTo>
                  <a:cubicBezTo>
                    <a:pt x="52" y="296"/>
                    <a:pt x="52" y="296"/>
                    <a:pt x="52" y="296"/>
                  </a:cubicBezTo>
                  <a:cubicBezTo>
                    <a:pt x="106" y="254"/>
                    <a:pt x="106" y="254"/>
                    <a:pt x="106" y="254"/>
                  </a:cubicBezTo>
                  <a:cubicBezTo>
                    <a:pt x="159" y="296"/>
                    <a:pt x="159" y="296"/>
                    <a:pt x="159" y="296"/>
                  </a:cubicBezTo>
                  <a:cubicBezTo>
                    <a:pt x="159" y="197"/>
                    <a:pt x="159" y="197"/>
                    <a:pt x="159" y="197"/>
                  </a:cubicBezTo>
                  <a:cubicBezTo>
                    <a:pt x="190" y="179"/>
                    <a:pt x="211" y="145"/>
                    <a:pt x="211" y="106"/>
                  </a:cubicBezTo>
                  <a:cubicBezTo>
                    <a:pt x="211" y="48"/>
                    <a:pt x="164" y="0"/>
                    <a:pt x="105" y="0"/>
                  </a:cubicBezTo>
                  <a:close/>
                  <a:moveTo>
                    <a:pt x="105" y="196"/>
                  </a:moveTo>
                  <a:cubicBezTo>
                    <a:pt x="56" y="196"/>
                    <a:pt x="16" y="156"/>
                    <a:pt x="15" y="106"/>
                  </a:cubicBezTo>
                  <a:cubicBezTo>
                    <a:pt x="16" y="56"/>
                    <a:pt x="56" y="16"/>
                    <a:pt x="105" y="16"/>
                  </a:cubicBezTo>
                  <a:cubicBezTo>
                    <a:pt x="155" y="16"/>
                    <a:pt x="195" y="56"/>
                    <a:pt x="195" y="106"/>
                  </a:cubicBezTo>
                  <a:cubicBezTo>
                    <a:pt x="195" y="156"/>
                    <a:pt x="155" y="196"/>
                    <a:pt x="105" y="1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grpSp>
      <p:sp>
        <p:nvSpPr>
          <p:cNvPr id="2" name="Rectangle 1"/>
          <p:cNvSpPr/>
          <p:nvPr/>
        </p:nvSpPr>
        <p:spPr>
          <a:xfrm>
            <a:off x="10040112" y="6358128"/>
            <a:ext cx="1944624" cy="481584"/>
          </a:xfrm>
          <a:prstGeom prst="rect">
            <a:avLst/>
          </a:prstGeom>
          <a:solidFill>
            <a:srgbClr val="0E0F1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041906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10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p:cTn id="12" dur="1000" fill="hold"/>
                                        <p:tgtEl>
                                          <p:spTgt spid="34"/>
                                        </p:tgtEl>
                                        <p:attrNameLst>
                                          <p:attrName>ppt_w</p:attrName>
                                        </p:attrNameLst>
                                      </p:cBhvr>
                                      <p:tavLst>
                                        <p:tav tm="0">
                                          <p:val>
                                            <p:fltVal val="0"/>
                                          </p:val>
                                        </p:tav>
                                        <p:tav tm="100000">
                                          <p:val>
                                            <p:strVal val="#ppt_w"/>
                                          </p:val>
                                        </p:tav>
                                      </p:tavLst>
                                    </p:anim>
                                    <p:anim calcmode="lin" valueType="num">
                                      <p:cBhvr>
                                        <p:cTn id="13" dur="1000" fill="hold"/>
                                        <p:tgtEl>
                                          <p:spTgt spid="34"/>
                                        </p:tgtEl>
                                        <p:attrNameLst>
                                          <p:attrName>ppt_h</p:attrName>
                                        </p:attrNameLst>
                                      </p:cBhvr>
                                      <p:tavLst>
                                        <p:tav tm="0">
                                          <p:val>
                                            <p:fltVal val="0"/>
                                          </p:val>
                                        </p:tav>
                                        <p:tav tm="100000">
                                          <p:val>
                                            <p:strVal val="#ppt_h"/>
                                          </p:val>
                                        </p:tav>
                                      </p:tavLst>
                                    </p:anim>
                                    <p:animEffect transition="in" filter="fade">
                                      <p:cBhvr>
                                        <p:cTn id="14" dur="1000"/>
                                        <p:tgtEl>
                                          <p:spTgt spid="34"/>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1000"/>
                                        <p:tgtEl>
                                          <p:spTgt spid="41"/>
                                        </p:tgtEl>
                                      </p:cBhvr>
                                    </p:animEffect>
                                  </p:childTnLst>
                                </p:cTn>
                              </p:par>
                            </p:childTnLst>
                          </p:cTn>
                        </p:par>
                        <p:par>
                          <p:cTn id="19" fill="hold">
                            <p:stCondLst>
                              <p:cond delay="2000"/>
                            </p:stCondLst>
                            <p:childTnLst>
                              <p:par>
                                <p:cTn id="20" presetID="18" presetClass="entr" presetSubtype="12" fill="hold" nodeType="after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strips(downLeft)">
                                      <p:cBhvr>
                                        <p:cTn id="22" dur="1000"/>
                                        <p:tgtEl>
                                          <p:spTgt spid="70"/>
                                        </p:tgtEl>
                                      </p:cBhvr>
                                    </p:animEffect>
                                  </p:childTnLst>
                                </p:cTn>
                              </p:par>
                              <p:par>
                                <p:cTn id="23" presetID="18" presetClass="entr" presetSubtype="12" fill="hold" grpId="0" nodeType="with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strips(downLeft)">
                                      <p:cBhvr>
                                        <p:cTn id="25" dur="1000"/>
                                        <p:tgtEl>
                                          <p:spTgt spid="65"/>
                                        </p:tgtEl>
                                      </p:cBhvr>
                                    </p:animEffect>
                                  </p:childTnLst>
                                </p:cTn>
                              </p:par>
                            </p:childTnLst>
                          </p:cTn>
                        </p:par>
                        <p:par>
                          <p:cTn id="26" fill="hold">
                            <p:stCondLst>
                              <p:cond delay="3000"/>
                            </p:stCondLst>
                            <p:childTnLst>
                              <p:par>
                                <p:cTn id="27" presetID="18" presetClass="entr" presetSubtype="12" fill="hold" nodeType="afterEffect">
                                  <p:stCondLst>
                                    <p:cond delay="0"/>
                                  </p:stCondLst>
                                  <p:childTnLst>
                                    <p:set>
                                      <p:cBhvr>
                                        <p:cTn id="28" dur="1" fill="hold">
                                          <p:stCondLst>
                                            <p:cond delay="0"/>
                                          </p:stCondLst>
                                        </p:cTn>
                                        <p:tgtEl>
                                          <p:spTgt spid="67"/>
                                        </p:tgtEl>
                                        <p:attrNameLst>
                                          <p:attrName>style.visibility</p:attrName>
                                        </p:attrNameLst>
                                      </p:cBhvr>
                                      <p:to>
                                        <p:strVal val="visible"/>
                                      </p:to>
                                    </p:set>
                                    <p:animEffect transition="in" filter="strips(downLeft)">
                                      <p:cBhvr>
                                        <p:cTn id="29" dur="1000"/>
                                        <p:tgtEl>
                                          <p:spTgt spid="67"/>
                                        </p:tgtEl>
                                      </p:cBhvr>
                                    </p:animEffect>
                                  </p:childTnLst>
                                </p:cTn>
                              </p:par>
                              <p:par>
                                <p:cTn id="30" presetID="18" presetClass="entr" presetSubtype="12" fill="hold" grpId="0" nodeType="withEffect">
                                  <p:stCondLst>
                                    <p:cond delay="0"/>
                                  </p:stCondLst>
                                  <p:childTnLst>
                                    <p:set>
                                      <p:cBhvr>
                                        <p:cTn id="31" dur="1" fill="hold">
                                          <p:stCondLst>
                                            <p:cond delay="0"/>
                                          </p:stCondLst>
                                        </p:cTn>
                                        <p:tgtEl>
                                          <p:spTgt spid="57"/>
                                        </p:tgtEl>
                                        <p:attrNameLst>
                                          <p:attrName>style.visibility</p:attrName>
                                        </p:attrNameLst>
                                      </p:cBhvr>
                                      <p:to>
                                        <p:strVal val="visible"/>
                                      </p:to>
                                    </p:set>
                                    <p:animEffect transition="in" filter="strips(downLeft)">
                                      <p:cBhvr>
                                        <p:cTn id="32" dur="1000"/>
                                        <p:tgtEl>
                                          <p:spTgt spid="57"/>
                                        </p:tgtEl>
                                      </p:cBhvr>
                                    </p:animEffect>
                                  </p:childTnLst>
                                </p:cTn>
                              </p:par>
                            </p:childTnLst>
                          </p:cTn>
                        </p:par>
                        <p:par>
                          <p:cTn id="33" fill="hold">
                            <p:stCondLst>
                              <p:cond delay="4000"/>
                            </p:stCondLst>
                            <p:childTnLst>
                              <p:par>
                                <p:cTn id="34" presetID="18" presetClass="entr" presetSubtype="12" fill="hold" nodeType="after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strips(downLeft)">
                                      <p:cBhvr>
                                        <p:cTn id="36" dur="1000"/>
                                        <p:tgtEl>
                                          <p:spTgt spid="73"/>
                                        </p:tgtEl>
                                      </p:cBhvr>
                                    </p:animEffect>
                                  </p:childTnLst>
                                </p:cTn>
                              </p:par>
                              <p:par>
                                <p:cTn id="37" presetID="18" presetClass="entr" presetSubtype="12" fill="hold" grpId="0" nodeType="withEffect">
                                  <p:stCondLst>
                                    <p:cond delay="0"/>
                                  </p:stCondLst>
                                  <p:childTnLst>
                                    <p:set>
                                      <p:cBhvr>
                                        <p:cTn id="38" dur="1" fill="hold">
                                          <p:stCondLst>
                                            <p:cond delay="0"/>
                                          </p:stCondLst>
                                        </p:cTn>
                                        <p:tgtEl>
                                          <p:spTgt spid="58"/>
                                        </p:tgtEl>
                                        <p:attrNameLst>
                                          <p:attrName>style.visibility</p:attrName>
                                        </p:attrNameLst>
                                      </p:cBhvr>
                                      <p:to>
                                        <p:strVal val="visible"/>
                                      </p:to>
                                    </p:set>
                                    <p:animEffect transition="in" filter="strips(downLeft)">
                                      <p:cBhvr>
                                        <p:cTn id="39" dur="1000"/>
                                        <p:tgtEl>
                                          <p:spTgt spid="58"/>
                                        </p:tgtEl>
                                      </p:cBhvr>
                                    </p:animEffect>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grpId="0" nodeType="clickEffect">
                                  <p:stCondLst>
                                    <p:cond delay="0"/>
                                  </p:stCondLst>
                                  <p:childTnLst>
                                    <p:set>
                                      <p:cBhvr>
                                        <p:cTn id="43" dur="1" fill="hold">
                                          <p:stCondLst>
                                            <p:cond delay="0"/>
                                          </p:stCondLst>
                                        </p:cTn>
                                        <p:tgtEl>
                                          <p:spTgt spid="66"/>
                                        </p:tgtEl>
                                        <p:attrNameLst>
                                          <p:attrName>style.visibility</p:attrName>
                                        </p:attrNameLst>
                                      </p:cBhvr>
                                      <p:to>
                                        <p:strVal val="visible"/>
                                      </p:to>
                                    </p:set>
                                    <p:animEffect transition="in" filter="fade">
                                      <p:cBhvr>
                                        <p:cTn id="44" dur="1000"/>
                                        <p:tgtEl>
                                          <p:spTgt spid="66"/>
                                        </p:tgtEl>
                                      </p:cBhvr>
                                    </p:animEffect>
                                    <p:anim calcmode="lin" valueType="num">
                                      <p:cBhvr>
                                        <p:cTn id="45" dur="1000" fill="hold"/>
                                        <p:tgtEl>
                                          <p:spTgt spid="66"/>
                                        </p:tgtEl>
                                        <p:attrNameLst>
                                          <p:attrName>ppt_x</p:attrName>
                                        </p:attrNameLst>
                                      </p:cBhvr>
                                      <p:tavLst>
                                        <p:tav tm="0">
                                          <p:val>
                                            <p:strVal val="#ppt_x"/>
                                          </p:val>
                                        </p:tav>
                                        <p:tav tm="100000">
                                          <p:val>
                                            <p:strVal val="#ppt_x"/>
                                          </p:val>
                                        </p:tav>
                                      </p:tavLst>
                                    </p:anim>
                                    <p:anim calcmode="lin" valueType="num">
                                      <p:cBhvr>
                                        <p:cTn id="46" dur="1000" fill="hold"/>
                                        <p:tgtEl>
                                          <p:spTgt spid="6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57" grpId="0"/>
      <p:bldP spid="58" grpId="0"/>
      <p:bldP spid="65" grpId="0"/>
      <p:bldP spid="6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5458225" y="649179"/>
            <a:ext cx="6173851" cy="1154547"/>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r" rtl="1">
              <a:lnSpc>
                <a:spcPct val="70000"/>
              </a:lnSpc>
            </a:pPr>
            <a:r>
              <a:rPr lang="fa-IR" sz="4000" b="1" dirty="0" smtClean="0">
                <a:solidFill>
                  <a:schemeClr val="bg1"/>
                </a:solidFill>
                <a:latin typeface="Ostrich Sans Medium" panose="02000508000000020004" pitchFamily="50" charset="0"/>
                <a:ea typeface="Open Sans" panose="020B0606030504020204" pitchFamily="34" charset="0"/>
                <a:cs typeface="B Titr" panose="00000700000000000000" pitchFamily="2" charset="-78"/>
              </a:rPr>
              <a:t>کلاهبرداری های بانکی</a:t>
            </a:r>
            <a:endParaRPr lang="en-US" sz="4000" dirty="0">
              <a:solidFill>
                <a:schemeClr val="bg1"/>
              </a:solidFill>
              <a:latin typeface="Ostrich Sans Medium" panose="02000508000000020004" pitchFamily="50" charset="0"/>
              <a:ea typeface="Open Sans" panose="020B0606030504020204" pitchFamily="34" charset="0"/>
              <a:cs typeface="B Titr" panose="00000700000000000000" pitchFamily="2" charset="-78"/>
            </a:endParaRPr>
          </a:p>
        </p:txBody>
      </p:sp>
      <p:sp>
        <p:nvSpPr>
          <p:cNvPr id="28" name="Slide Number Placeholder 27"/>
          <p:cNvSpPr>
            <a:spLocks noGrp="1"/>
          </p:cNvSpPr>
          <p:nvPr>
            <p:ph type="sldNum" sz="quarter" idx="12"/>
          </p:nvPr>
        </p:nvSpPr>
        <p:spPr/>
        <p:txBody>
          <a:bodyPr/>
          <a:lstStyle/>
          <a:p>
            <a:fld id="{32ECD629-4DA5-4EAE-B174-69948CAAE2CE}" type="slidenum">
              <a:rPr lang="en-US" smtClean="0"/>
              <a:t>4</a:t>
            </a:fld>
            <a:endParaRPr lang="en-US"/>
          </a:p>
        </p:txBody>
      </p:sp>
      <p:grpSp>
        <p:nvGrpSpPr>
          <p:cNvPr id="7" name="Group 6"/>
          <p:cNvGrpSpPr/>
          <p:nvPr/>
        </p:nvGrpSpPr>
        <p:grpSpPr>
          <a:xfrm>
            <a:off x="360129" y="1429783"/>
            <a:ext cx="5503418" cy="4579801"/>
            <a:chOff x="6005830" y="1122655"/>
            <a:chExt cx="5503418" cy="4579801"/>
          </a:xfrm>
        </p:grpSpPr>
        <p:grpSp>
          <p:nvGrpSpPr>
            <p:cNvPr id="4" name="Group 3"/>
            <p:cNvGrpSpPr/>
            <p:nvPr/>
          </p:nvGrpSpPr>
          <p:grpSpPr>
            <a:xfrm>
              <a:off x="6005830" y="1122655"/>
              <a:ext cx="5503418" cy="4579801"/>
              <a:chOff x="6005830" y="1122655"/>
              <a:chExt cx="5503418" cy="4579801"/>
            </a:xfrm>
          </p:grpSpPr>
          <p:graphicFrame>
            <p:nvGraphicFramePr>
              <p:cNvPr id="11" name="Chart 10"/>
              <p:cNvGraphicFramePr/>
              <p:nvPr>
                <p:extLst>
                  <p:ext uri="{D42A27DB-BD31-4B8C-83A1-F6EECF244321}">
                    <p14:modId xmlns:p14="http://schemas.microsoft.com/office/powerpoint/2010/main" val="3283001972"/>
                  </p:ext>
                </p:extLst>
              </p:nvPr>
            </p:nvGraphicFramePr>
            <p:xfrm>
              <a:off x="6005830" y="1122655"/>
              <a:ext cx="5503418" cy="4579801"/>
            </p:xfrm>
            <a:graphic>
              <a:graphicData uri="http://schemas.openxmlformats.org/drawingml/2006/chart">
                <c:chart xmlns:c="http://schemas.openxmlformats.org/drawingml/2006/chart" xmlns:r="http://schemas.openxmlformats.org/officeDocument/2006/relationships" r:id="rId3"/>
              </a:graphicData>
            </a:graphic>
          </p:graphicFrame>
          <p:sp>
            <p:nvSpPr>
              <p:cNvPr id="2" name="Oval 1"/>
              <p:cNvSpPr/>
              <p:nvPr/>
            </p:nvSpPr>
            <p:spPr>
              <a:xfrm>
                <a:off x="8163814" y="2642868"/>
                <a:ext cx="1187450" cy="11874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grpSp>
          <p:nvGrpSpPr>
            <p:cNvPr id="12" name="Group 11"/>
            <p:cNvGrpSpPr/>
            <p:nvPr/>
          </p:nvGrpSpPr>
          <p:grpSpPr>
            <a:xfrm>
              <a:off x="8534495" y="3008726"/>
              <a:ext cx="446088" cy="417513"/>
              <a:chOff x="1200150" y="2066865"/>
              <a:chExt cx="446088" cy="417513"/>
            </a:xfrm>
            <a:solidFill>
              <a:schemeClr val="tx1">
                <a:lumMod val="75000"/>
                <a:lumOff val="25000"/>
              </a:schemeClr>
            </a:solidFill>
          </p:grpSpPr>
          <p:sp>
            <p:nvSpPr>
              <p:cNvPr id="13" name="Freeform 13"/>
              <p:cNvSpPr>
                <a:spLocks noEditPoints="1"/>
              </p:cNvSpPr>
              <p:nvPr/>
            </p:nvSpPr>
            <p:spPr bwMode="auto">
              <a:xfrm>
                <a:off x="1200150" y="2251015"/>
                <a:ext cx="446088" cy="233363"/>
              </a:xfrm>
              <a:custGeom>
                <a:avLst/>
                <a:gdLst>
                  <a:gd name="T0" fmla="*/ 267 w 281"/>
                  <a:gd name="T1" fmla="*/ 126 h 147"/>
                  <a:gd name="T2" fmla="*/ 267 w 281"/>
                  <a:gd name="T3" fmla="*/ 109 h 147"/>
                  <a:gd name="T4" fmla="*/ 251 w 281"/>
                  <a:gd name="T5" fmla="*/ 109 h 147"/>
                  <a:gd name="T6" fmla="*/ 251 w 281"/>
                  <a:gd name="T7" fmla="*/ 19 h 147"/>
                  <a:gd name="T8" fmla="*/ 267 w 281"/>
                  <a:gd name="T9" fmla="*/ 19 h 147"/>
                  <a:gd name="T10" fmla="*/ 267 w 281"/>
                  <a:gd name="T11" fmla="*/ 0 h 147"/>
                  <a:gd name="T12" fmla="*/ 14 w 281"/>
                  <a:gd name="T13" fmla="*/ 0 h 147"/>
                  <a:gd name="T14" fmla="*/ 14 w 281"/>
                  <a:gd name="T15" fmla="*/ 19 h 147"/>
                  <a:gd name="T16" fmla="*/ 30 w 281"/>
                  <a:gd name="T17" fmla="*/ 19 h 147"/>
                  <a:gd name="T18" fmla="*/ 30 w 281"/>
                  <a:gd name="T19" fmla="*/ 109 h 147"/>
                  <a:gd name="T20" fmla="*/ 14 w 281"/>
                  <a:gd name="T21" fmla="*/ 109 h 147"/>
                  <a:gd name="T22" fmla="*/ 14 w 281"/>
                  <a:gd name="T23" fmla="*/ 126 h 147"/>
                  <a:gd name="T24" fmla="*/ 0 w 281"/>
                  <a:gd name="T25" fmla="*/ 126 h 147"/>
                  <a:gd name="T26" fmla="*/ 0 w 281"/>
                  <a:gd name="T27" fmla="*/ 147 h 147"/>
                  <a:gd name="T28" fmla="*/ 281 w 281"/>
                  <a:gd name="T29" fmla="*/ 147 h 147"/>
                  <a:gd name="T30" fmla="*/ 281 w 281"/>
                  <a:gd name="T31" fmla="*/ 126 h 147"/>
                  <a:gd name="T32" fmla="*/ 267 w 281"/>
                  <a:gd name="T33" fmla="*/ 126 h 147"/>
                  <a:gd name="T34" fmla="*/ 92 w 281"/>
                  <a:gd name="T35" fmla="*/ 109 h 147"/>
                  <a:gd name="T36" fmla="*/ 62 w 281"/>
                  <a:gd name="T37" fmla="*/ 109 h 147"/>
                  <a:gd name="T38" fmla="*/ 62 w 281"/>
                  <a:gd name="T39" fmla="*/ 19 h 147"/>
                  <a:gd name="T40" fmla="*/ 92 w 281"/>
                  <a:gd name="T41" fmla="*/ 19 h 147"/>
                  <a:gd name="T42" fmla="*/ 92 w 281"/>
                  <a:gd name="T43" fmla="*/ 109 h 147"/>
                  <a:gd name="T44" fmla="*/ 155 w 281"/>
                  <a:gd name="T45" fmla="*/ 109 h 147"/>
                  <a:gd name="T46" fmla="*/ 125 w 281"/>
                  <a:gd name="T47" fmla="*/ 109 h 147"/>
                  <a:gd name="T48" fmla="*/ 125 w 281"/>
                  <a:gd name="T49" fmla="*/ 19 h 147"/>
                  <a:gd name="T50" fmla="*/ 155 w 281"/>
                  <a:gd name="T51" fmla="*/ 19 h 147"/>
                  <a:gd name="T52" fmla="*/ 155 w 281"/>
                  <a:gd name="T53" fmla="*/ 109 h 147"/>
                  <a:gd name="T54" fmla="*/ 218 w 281"/>
                  <a:gd name="T55" fmla="*/ 109 h 147"/>
                  <a:gd name="T56" fmla="*/ 188 w 281"/>
                  <a:gd name="T57" fmla="*/ 109 h 147"/>
                  <a:gd name="T58" fmla="*/ 188 w 281"/>
                  <a:gd name="T59" fmla="*/ 19 h 147"/>
                  <a:gd name="T60" fmla="*/ 218 w 281"/>
                  <a:gd name="T61" fmla="*/ 19 h 147"/>
                  <a:gd name="T62" fmla="*/ 218 w 281"/>
                  <a:gd name="T63" fmla="*/ 10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1" h="147">
                    <a:moveTo>
                      <a:pt x="267" y="126"/>
                    </a:moveTo>
                    <a:lnTo>
                      <a:pt x="267" y="109"/>
                    </a:lnTo>
                    <a:lnTo>
                      <a:pt x="251" y="109"/>
                    </a:lnTo>
                    <a:lnTo>
                      <a:pt x="251" y="19"/>
                    </a:lnTo>
                    <a:lnTo>
                      <a:pt x="267" y="19"/>
                    </a:lnTo>
                    <a:lnTo>
                      <a:pt x="267" y="0"/>
                    </a:lnTo>
                    <a:lnTo>
                      <a:pt x="14" y="0"/>
                    </a:lnTo>
                    <a:lnTo>
                      <a:pt x="14" y="19"/>
                    </a:lnTo>
                    <a:lnTo>
                      <a:pt x="30" y="19"/>
                    </a:lnTo>
                    <a:lnTo>
                      <a:pt x="30" y="109"/>
                    </a:lnTo>
                    <a:lnTo>
                      <a:pt x="14" y="109"/>
                    </a:lnTo>
                    <a:lnTo>
                      <a:pt x="14" y="126"/>
                    </a:lnTo>
                    <a:lnTo>
                      <a:pt x="0" y="126"/>
                    </a:lnTo>
                    <a:lnTo>
                      <a:pt x="0" y="147"/>
                    </a:lnTo>
                    <a:lnTo>
                      <a:pt x="281" y="147"/>
                    </a:lnTo>
                    <a:lnTo>
                      <a:pt x="281" y="126"/>
                    </a:lnTo>
                    <a:lnTo>
                      <a:pt x="267" y="126"/>
                    </a:lnTo>
                    <a:close/>
                    <a:moveTo>
                      <a:pt x="92" y="109"/>
                    </a:moveTo>
                    <a:lnTo>
                      <a:pt x="62" y="109"/>
                    </a:lnTo>
                    <a:lnTo>
                      <a:pt x="62" y="19"/>
                    </a:lnTo>
                    <a:lnTo>
                      <a:pt x="92" y="19"/>
                    </a:lnTo>
                    <a:lnTo>
                      <a:pt x="92" y="109"/>
                    </a:lnTo>
                    <a:close/>
                    <a:moveTo>
                      <a:pt x="155" y="109"/>
                    </a:moveTo>
                    <a:lnTo>
                      <a:pt x="125" y="109"/>
                    </a:lnTo>
                    <a:lnTo>
                      <a:pt x="125" y="19"/>
                    </a:lnTo>
                    <a:lnTo>
                      <a:pt x="155" y="19"/>
                    </a:lnTo>
                    <a:lnTo>
                      <a:pt x="155" y="109"/>
                    </a:lnTo>
                    <a:close/>
                    <a:moveTo>
                      <a:pt x="218" y="109"/>
                    </a:moveTo>
                    <a:lnTo>
                      <a:pt x="188" y="109"/>
                    </a:lnTo>
                    <a:lnTo>
                      <a:pt x="188" y="19"/>
                    </a:lnTo>
                    <a:lnTo>
                      <a:pt x="218" y="19"/>
                    </a:lnTo>
                    <a:lnTo>
                      <a:pt x="218" y="10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14" name="Freeform 14"/>
              <p:cNvSpPr>
                <a:spLocks noEditPoints="1"/>
              </p:cNvSpPr>
              <p:nvPr/>
            </p:nvSpPr>
            <p:spPr bwMode="auto">
              <a:xfrm>
                <a:off x="1200150" y="2066865"/>
                <a:ext cx="446088" cy="163513"/>
              </a:xfrm>
              <a:custGeom>
                <a:avLst/>
                <a:gdLst>
                  <a:gd name="T0" fmla="*/ 140 w 281"/>
                  <a:gd name="T1" fmla="*/ 0 h 103"/>
                  <a:gd name="T2" fmla="*/ 0 w 281"/>
                  <a:gd name="T3" fmla="*/ 95 h 103"/>
                  <a:gd name="T4" fmla="*/ 0 w 281"/>
                  <a:gd name="T5" fmla="*/ 103 h 103"/>
                  <a:gd name="T6" fmla="*/ 281 w 281"/>
                  <a:gd name="T7" fmla="*/ 103 h 103"/>
                  <a:gd name="T8" fmla="*/ 281 w 281"/>
                  <a:gd name="T9" fmla="*/ 95 h 103"/>
                  <a:gd name="T10" fmla="*/ 140 w 281"/>
                  <a:gd name="T11" fmla="*/ 0 h 103"/>
                  <a:gd name="T12" fmla="*/ 190 w 281"/>
                  <a:gd name="T13" fmla="*/ 74 h 103"/>
                  <a:gd name="T14" fmla="*/ 91 w 281"/>
                  <a:gd name="T15" fmla="*/ 74 h 103"/>
                  <a:gd name="T16" fmla="*/ 91 w 281"/>
                  <a:gd name="T17" fmla="*/ 71 h 103"/>
                  <a:gd name="T18" fmla="*/ 140 w 281"/>
                  <a:gd name="T19" fmla="*/ 38 h 103"/>
                  <a:gd name="T20" fmla="*/ 190 w 281"/>
                  <a:gd name="T21" fmla="*/ 71 h 103"/>
                  <a:gd name="T22" fmla="*/ 190 w 281"/>
                  <a:gd name="T23" fmla="*/ 7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103">
                    <a:moveTo>
                      <a:pt x="140" y="0"/>
                    </a:moveTo>
                    <a:lnTo>
                      <a:pt x="0" y="95"/>
                    </a:lnTo>
                    <a:lnTo>
                      <a:pt x="0" y="103"/>
                    </a:lnTo>
                    <a:lnTo>
                      <a:pt x="281" y="103"/>
                    </a:lnTo>
                    <a:lnTo>
                      <a:pt x="281" y="95"/>
                    </a:lnTo>
                    <a:lnTo>
                      <a:pt x="140" y="0"/>
                    </a:lnTo>
                    <a:close/>
                    <a:moveTo>
                      <a:pt x="190" y="74"/>
                    </a:moveTo>
                    <a:lnTo>
                      <a:pt x="91" y="74"/>
                    </a:lnTo>
                    <a:lnTo>
                      <a:pt x="91" y="71"/>
                    </a:lnTo>
                    <a:lnTo>
                      <a:pt x="140" y="38"/>
                    </a:lnTo>
                    <a:lnTo>
                      <a:pt x="190" y="71"/>
                    </a:lnTo>
                    <a:lnTo>
                      <a:pt x="190"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grpSp>
      </p:grpSp>
      <p:sp>
        <p:nvSpPr>
          <p:cNvPr id="52" name="Title 1"/>
          <p:cNvSpPr txBox="1">
            <a:spLocks/>
          </p:cNvSpPr>
          <p:nvPr/>
        </p:nvSpPr>
        <p:spPr>
          <a:xfrm>
            <a:off x="6816553" y="2318404"/>
            <a:ext cx="1771265" cy="413547"/>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l"/>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Mobile fraud</a:t>
            </a:r>
          </a:p>
        </p:txBody>
      </p:sp>
      <p:sp>
        <p:nvSpPr>
          <p:cNvPr id="54" name="Title 1"/>
          <p:cNvSpPr txBox="1">
            <a:spLocks/>
          </p:cNvSpPr>
          <p:nvPr/>
        </p:nvSpPr>
        <p:spPr>
          <a:xfrm>
            <a:off x="9559753" y="2318404"/>
            <a:ext cx="1771265" cy="413547"/>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l"/>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Identity and social fraud</a:t>
            </a:r>
          </a:p>
        </p:txBody>
      </p:sp>
      <p:sp>
        <p:nvSpPr>
          <p:cNvPr id="55" name="Title 1"/>
          <p:cNvSpPr txBox="1">
            <a:spLocks/>
          </p:cNvSpPr>
          <p:nvPr/>
        </p:nvSpPr>
        <p:spPr>
          <a:xfrm>
            <a:off x="6816553" y="3966670"/>
            <a:ext cx="1771265" cy="413547"/>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l"/>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Credit card fraud</a:t>
            </a:r>
          </a:p>
        </p:txBody>
      </p:sp>
      <p:sp>
        <p:nvSpPr>
          <p:cNvPr id="56" name="Title 1"/>
          <p:cNvSpPr txBox="1">
            <a:spLocks/>
          </p:cNvSpPr>
          <p:nvPr/>
        </p:nvSpPr>
        <p:spPr>
          <a:xfrm>
            <a:off x="9559753" y="3966670"/>
            <a:ext cx="1771265" cy="413547"/>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l"/>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Internal fraud</a:t>
            </a:r>
          </a:p>
        </p:txBody>
      </p:sp>
      <p:sp>
        <p:nvSpPr>
          <p:cNvPr id="57" name="Rounded Rectangle 56"/>
          <p:cNvSpPr/>
          <p:nvPr/>
        </p:nvSpPr>
        <p:spPr>
          <a:xfrm>
            <a:off x="6118646" y="2212066"/>
            <a:ext cx="626222" cy="626222"/>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8" name="Rounded Rectangle 57"/>
          <p:cNvSpPr/>
          <p:nvPr/>
        </p:nvSpPr>
        <p:spPr>
          <a:xfrm>
            <a:off x="8887954" y="2212066"/>
            <a:ext cx="626222" cy="62622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9" name="Rounded Rectangle 58"/>
          <p:cNvSpPr/>
          <p:nvPr/>
        </p:nvSpPr>
        <p:spPr>
          <a:xfrm>
            <a:off x="6118646" y="3860332"/>
            <a:ext cx="626222" cy="62622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0" name="Rounded Rectangle 59"/>
          <p:cNvSpPr/>
          <p:nvPr/>
        </p:nvSpPr>
        <p:spPr>
          <a:xfrm>
            <a:off x="8887954" y="3860332"/>
            <a:ext cx="626222" cy="626222"/>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1" name="Freeform 12"/>
          <p:cNvSpPr>
            <a:spLocks noEditPoints="1"/>
          </p:cNvSpPr>
          <p:nvPr/>
        </p:nvSpPr>
        <p:spPr bwMode="auto">
          <a:xfrm>
            <a:off x="6287837" y="2367143"/>
            <a:ext cx="316069" cy="316069"/>
          </a:xfrm>
          <a:custGeom>
            <a:avLst/>
            <a:gdLst>
              <a:gd name="T0" fmla="*/ 473 w 548"/>
              <a:gd name="T1" fmla="*/ 86 h 548"/>
              <a:gd name="T2" fmla="*/ 468 w 548"/>
              <a:gd name="T3" fmla="*/ 82 h 548"/>
              <a:gd name="T4" fmla="*/ 464 w 548"/>
              <a:gd name="T5" fmla="*/ 77 h 548"/>
              <a:gd name="T6" fmla="*/ 458 w 548"/>
              <a:gd name="T7" fmla="*/ 73 h 548"/>
              <a:gd name="T8" fmla="*/ 90 w 548"/>
              <a:gd name="T9" fmla="*/ 73 h 548"/>
              <a:gd name="T10" fmla="*/ 86 w 548"/>
              <a:gd name="T11" fmla="*/ 77 h 548"/>
              <a:gd name="T12" fmla="*/ 81 w 548"/>
              <a:gd name="T13" fmla="*/ 82 h 548"/>
              <a:gd name="T14" fmla="*/ 75 w 548"/>
              <a:gd name="T15" fmla="*/ 86 h 548"/>
              <a:gd name="T16" fmla="*/ 0 w 548"/>
              <a:gd name="T17" fmla="*/ 273 h 548"/>
              <a:gd name="T18" fmla="*/ 90 w 548"/>
              <a:gd name="T19" fmla="*/ 476 h 548"/>
              <a:gd name="T20" fmla="*/ 458 w 548"/>
              <a:gd name="T21" fmla="*/ 476 h 548"/>
              <a:gd name="T22" fmla="*/ 548 w 548"/>
              <a:gd name="T23" fmla="*/ 273 h 548"/>
              <a:gd name="T24" fmla="*/ 229 w 548"/>
              <a:gd name="T25" fmla="*/ 37 h 548"/>
              <a:gd name="T26" fmla="*/ 112 w 548"/>
              <a:gd name="T27" fmla="*/ 95 h 548"/>
              <a:gd name="T28" fmla="*/ 90 w 548"/>
              <a:gd name="T29" fmla="*/ 118 h 548"/>
              <a:gd name="T30" fmla="*/ 120 w 548"/>
              <a:gd name="T31" fmla="*/ 259 h 548"/>
              <a:gd name="T32" fmla="*/ 90 w 548"/>
              <a:gd name="T33" fmla="*/ 118 h 548"/>
              <a:gd name="T34" fmla="*/ 120 w 548"/>
              <a:gd name="T35" fmla="*/ 290 h 548"/>
              <a:gd name="T36" fmla="*/ 90 w 548"/>
              <a:gd name="T37" fmla="*/ 430 h 548"/>
              <a:gd name="T38" fmla="*/ 112 w 548"/>
              <a:gd name="T39" fmla="*/ 454 h 548"/>
              <a:gd name="T40" fmla="*/ 229 w 548"/>
              <a:gd name="T41" fmla="*/ 511 h 548"/>
              <a:gd name="T42" fmla="*/ 259 w 548"/>
              <a:gd name="T43" fmla="*/ 493 h 548"/>
              <a:gd name="T44" fmla="*/ 217 w 548"/>
              <a:gd name="T45" fmla="*/ 456 h 548"/>
              <a:gd name="T46" fmla="*/ 185 w 548"/>
              <a:gd name="T47" fmla="*/ 408 h 548"/>
              <a:gd name="T48" fmla="*/ 259 w 548"/>
              <a:gd name="T49" fmla="*/ 493 h 548"/>
              <a:gd name="T50" fmla="*/ 171 w 548"/>
              <a:gd name="T51" fmla="*/ 378 h 548"/>
              <a:gd name="T52" fmla="*/ 154 w 548"/>
              <a:gd name="T53" fmla="*/ 315 h 548"/>
              <a:gd name="T54" fmla="*/ 259 w 548"/>
              <a:gd name="T55" fmla="*/ 290 h 548"/>
              <a:gd name="T56" fmla="*/ 259 w 548"/>
              <a:gd name="T57" fmla="*/ 259 h 548"/>
              <a:gd name="T58" fmla="*/ 154 w 548"/>
              <a:gd name="T59" fmla="*/ 232 h 548"/>
              <a:gd name="T60" fmla="*/ 171 w 548"/>
              <a:gd name="T61" fmla="*/ 170 h 548"/>
              <a:gd name="T62" fmla="*/ 259 w 548"/>
              <a:gd name="T63" fmla="*/ 259 h 548"/>
              <a:gd name="T64" fmla="*/ 185 w 548"/>
              <a:gd name="T65" fmla="*/ 141 h 548"/>
              <a:gd name="T66" fmla="*/ 217 w 548"/>
              <a:gd name="T67" fmla="*/ 92 h 548"/>
              <a:gd name="T68" fmla="*/ 259 w 548"/>
              <a:gd name="T69" fmla="*/ 53 h 548"/>
              <a:gd name="T70" fmla="*/ 515 w 548"/>
              <a:gd name="T71" fmla="*/ 259 h 548"/>
              <a:gd name="T72" fmla="*/ 406 w 548"/>
              <a:gd name="T73" fmla="*/ 155 h 548"/>
              <a:gd name="T74" fmla="*/ 515 w 548"/>
              <a:gd name="T75" fmla="*/ 259 h 548"/>
              <a:gd name="T76" fmla="*/ 393 w 548"/>
              <a:gd name="T77" fmla="*/ 127 h 548"/>
              <a:gd name="T78" fmla="*/ 436 w 548"/>
              <a:gd name="T79" fmla="*/ 95 h 548"/>
              <a:gd name="T80" fmla="*/ 304 w 548"/>
              <a:gd name="T81" fmla="*/ 65 h 548"/>
              <a:gd name="T82" fmla="*/ 353 w 548"/>
              <a:gd name="T83" fmla="*/ 123 h 548"/>
              <a:gd name="T84" fmla="*/ 289 w 548"/>
              <a:gd name="T85" fmla="*/ 157 h 548"/>
              <a:gd name="T86" fmla="*/ 289 w 548"/>
              <a:gd name="T87" fmla="*/ 189 h 548"/>
              <a:gd name="T88" fmla="*/ 385 w 548"/>
              <a:gd name="T89" fmla="*/ 194 h 548"/>
              <a:gd name="T90" fmla="*/ 397 w 548"/>
              <a:gd name="T91" fmla="*/ 259 h 548"/>
              <a:gd name="T92" fmla="*/ 289 w 548"/>
              <a:gd name="T93" fmla="*/ 189 h 548"/>
              <a:gd name="T94" fmla="*/ 397 w 548"/>
              <a:gd name="T95" fmla="*/ 290 h 548"/>
              <a:gd name="T96" fmla="*/ 385 w 548"/>
              <a:gd name="T97" fmla="*/ 355 h 548"/>
              <a:gd name="T98" fmla="*/ 289 w 548"/>
              <a:gd name="T99" fmla="*/ 359 h 548"/>
              <a:gd name="T100" fmla="*/ 289 w 548"/>
              <a:gd name="T101" fmla="*/ 493 h 548"/>
              <a:gd name="T102" fmla="*/ 363 w 548"/>
              <a:gd name="T103" fmla="*/ 408 h 548"/>
              <a:gd name="T104" fmla="*/ 331 w 548"/>
              <a:gd name="T105" fmla="*/ 456 h 548"/>
              <a:gd name="T106" fmla="*/ 289 w 548"/>
              <a:gd name="T107" fmla="*/ 493 h 548"/>
              <a:gd name="T108" fmla="*/ 393 w 548"/>
              <a:gd name="T109" fmla="*/ 421 h 548"/>
              <a:gd name="T110" fmla="*/ 319 w 548"/>
              <a:gd name="T111" fmla="*/ 511 h 548"/>
              <a:gd name="T112" fmla="*/ 406 w 548"/>
              <a:gd name="T113" fmla="*/ 392 h 548"/>
              <a:gd name="T114" fmla="*/ 515 w 548"/>
              <a:gd name="T115" fmla="*/ 29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8" h="548">
                <a:moveTo>
                  <a:pt x="481" y="95"/>
                </a:moveTo>
                <a:cubicBezTo>
                  <a:pt x="478" y="92"/>
                  <a:pt x="475" y="89"/>
                  <a:pt x="473" y="86"/>
                </a:cubicBezTo>
                <a:cubicBezTo>
                  <a:pt x="473" y="86"/>
                  <a:pt x="473" y="86"/>
                  <a:pt x="471" y="84"/>
                </a:cubicBezTo>
                <a:cubicBezTo>
                  <a:pt x="471" y="83"/>
                  <a:pt x="470" y="83"/>
                  <a:pt x="468" y="82"/>
                </a:cubicBezTo>
                <a:cubicBezTo>
                  <a:pt x="468" y="82"/>
                  <a:pt x="468" y="80"/>
                  <a:pt x="467" y="80"/>
                </a:cubicBezTo>
                <a:cubicBezTo>
                  <a:pt x="467" y="79"/>
                  <a:pt x="465" y="77"/>
                  <a:pt x="464" y="77"/>
                </a:cubicBezTo>
                <a:cubicBezTo>
                  <a:pt x="462" y="76"/>
                  <a:pt x="462" y="76"/>
                  <a:pt x="462" y="76"/>
                </a:cubicBezTo>
                <a:cubicBezTo>
                  <a:pt x="461" y="74"/>
                  <a:pt x="459" y="73"/>
                  <a:pt x="458" y="73"/>
                </a:cubicBezTo>
                <a:cubicBezTo>
                  <a:pt x="411" y="27"/>
                  <a:pt x="346" y="0"/>
                  <a:pt x="275" y="0"/>
                </a:cubicBezTo>
                <a:cubicBezTo>
                  <a:pt x="204" y="0"/>
                  <a:pt x="139" y="27"/>
                  <a:pt x="90" y="73"/>
                </a:cubicBezTo>
                <a:cubicBezTo>
                  <a:pt x="89" y="73"/>
                  <a:pt x="87" y="74"/>
                  <a:pt x="86" y="76"/>
                </a:cubicBezTo>
                <a:cubicBezTo>
                  <a:pt x="86" y="76"/>
                  <a:pt x="86" y="76"/>
                  <a:pt x="86" y="77"/>
                </a:cubicBezTo>
                <a:cubicBezTo>
                  <a:pt x="84" y="77"/>
                  <a:pt x="83" y="79"/>
                  <a:pt x="81" y="80"/>
                </a:cubicBezTo>
                <a:cubicBezTo>
                  <a:pt x="81" y="82"/>
                  <a:pt x="81" y="82"/>
                  <a:pt x="81" y="82"/>
                </a:cubicBezTo>
                <a:cubicBezTo>
                  <a:pt x="80" y="83"/>
                  <a:pt x="78" y="83"/>
                  <a:pt x="77" y="84"/>
                </a:cubicBezTo>
                <a:cubicBezTo>
                  <a:pt x="77" y="86"/>
                  <a:pt x="77" y="86"/>
                  <a:pt x="75" y="86"/>
                </a:cubicBezTo>
                <a:cubicBezTo>
                  <a:pt x="74" y="89"/>
                  <a:pt x="71" y="92"/>
                  <a:pt x="68" y="95"/>
                </a:cubicBezTo>
                <a:cubicBezTo>
                  <a:pt x="25" y="144"/>
                  <a:pt x="0" y="206"/>
                  <a:pt x="0" y="273"/>
                </a:cubicBezTo>
                <a:cubicBezTo>
                  <a:pt x="0" y="343"/>
                  <a:pt x="25" y="405"/>
                  <a:pt x="68" y="454"/>
                </a:cubicBezTo>
                <a:cubicBezTo>
                  <a:pt x="74" y="461"/>
                  <a:pt x="83" y="468"/>
                  <a:pt x="90" y="476"/>
                </a:cubicBezTo>
                <a:cubicBezTo>
                  <a:pt x="139" y="520"/>
                  <a:pt x="204" y="548"/>
                  <a:pt x="275" y="548"/>
                </a:cubicBezTo>
                <a:cubicBezTo>
                  <a:pt x="346" y="548"/>
                  <a:pt x="409" y="520"/>
                  <a:pt x="458" y="476"/>
                </a:cubicBezTo>
                <a:cubicBezTo>
                  <a:pt x="467" y="468"/>
                  <a:pt x="474" y="461"/>
                  <a:pt x="481" y="454"/>
                </a:cubicBezTo>
                <a:cubicBezTo>
                  <a:pt x="523" y="405"/>
                  <a:pt x="548" y="343"/>
                  <a:pt x="548" y="273"/>
                </a:cubicBezTo>
                <a:cubicBezTo>
                  <a:pt x="548" y="206"/>
                  <a:pt x="523" y="144"/>
                  <a:pt x="481" y="95"/>
                </a:cubicBezTo>
                <a:close/>
                <a:moveTo>
                  <a:pt x="229" y="37"/>
                </a:moveTo>
                <a:cubicBezTo>
                  <a:pt x="199" y="61"/>
                  <a:pt x="174" y="92"/>
                  <a:pt x="157" y="127"/>
                </a:cubicBezTo>
                <a:cubicBezTo>
                  <a:pt x="140" y="118"/>
                  <a:pt x="126" y="107"/>
                  <a:pt x="112" y="95"/>
                </a:cubicBezTo>
                <a:cubicBezTo>
                  <a:pt x="145" y="65"/>
                  <a:pt x="185" y="45"/>
                  <a:pt x="229" y="37"/>
                </a:cubicBezTo>
                <a:close/>
                <a:moveTo>
                  <a:pt x="90" y="118"/>
                </a:moveTo>
                <a:cubicBezTo>
                  <a:pt x="106" y="133"/>
                  <a:pt x="124" y="145"/>
                  <a:pt x="142" y="155"/>
                </a:cubicBezTo>
                <a:cubicBezTo>
                  <a:pt x="130" y="188"/>
                  <a:pt x="121" y="222"/>
                  <a:pt x="120" y="259"/>
                </a:cubicBezTo>
                <a:cubicBezTo>
                  <a:pt x="34" y="259"/>
                  <a:pt x="34" y="259"/>
                  <a:pt x="34" y="259"/>
                </a:cubicBezTo>
                <a:cubicBezTo>
                  <a:pt x="37" y="206"/>
                  <a:pt x="58" y="157"/>
                  <a:pt x="90" y="118"/>
                </a:cubicBezTo>
                <a:close/>
                <a:moveTo>
                  <a:pt x="34" y="290"/>
                </a:moveTo>
                <a:cubicBezTo>
                  <a:pt x="120" y="290"/>
                  <a:pt x="120" y="290"/>
                  <a:pt x="120" y="290"/>
                </a:cubicBezTo>
                <a:cubicBezTo>
                  <a:pt x="121" y="327"/>
                  <a:pt x="130" y="361"/>
                  <a:pt x="142" y="392"/>
                </a:cubicBezTo>
                <a:cubicBezTo>
                  <a:pt x="124" y="402"/>
                  <a:pt x="106" y="415"/>
                  <a:pt x="90" y="430"/>
                </a:cubicBezTo>
                <a:cubicBezTo>
                  <a:pt x="58" y="392"/>
                  <a:pt x="37" y="343"/>
                  <a:pt x="34" y="290"/>
                </a:cubicBezTo>
                <a:close/>
                <a:moveTo>
                  <a:pt x="112" y="454"/>
                </a:moveTo>
                <a:cubicBezTo>
                  <a:pt x="126" y="440"/>
                  <a:pt x="140" y="430"/>
                  <a:pt x="157" y="421"/>
                </a:cubicBezTo>
                <a:cubicBezTo>
                  <a:pt x="174" y="456"/>
                  <a:pt x="199" y="486"/>
                  <a:pt x="229" y="511"/>
                </a:cubicBezTo>
                <a:cubicBezTo>
                  <a:pt x="185" y="502"/>
                  <a:pt x="145" y="482"/>
                  <a:pt x="112" y="454"/>
                </a:cubicBezTo>
                <a:close/>
                <a:moveTo>
                  <a:pt x="259" y="493"/>
                </a:moveTo>
                <a:cubicBezTo>
                  <a:pt x="254" y="490"/>
                  <a:pt x="250" y="486"/>
                  <a:pt x="244" y="483"/>
                </a:cubicBezTo>
                <a:cubicBezTo>
                  <a:pt x="235" y="474"/>
                  <a:pt x="226" y="465"/>
                  <a:pt x="217" y="456"/>
                </a:cubicBezTo>
                <a:cubicBezTo>
                  <a:pt x="210" y="446"/>
                  <a:pt x="202" y="436"/>
                  <a:pt x="195" y="425"/>
                </a:cubicBezTo>
                <a:cubicBezTo>
                  <a:pt x="191" y="420"/>
                  <a:pt x="188" y="414"/>
                  <a:pt x="185" y="408"/>
                </a:cubicBezTo>
                <a:cubicBezTo>
                  <a:pt x="208" y="399"/>
                  <a:pt x="232" y="393"/>
                  <a:pt x="259" y="390"/>
                </a:cubicBezTo>
                <a:lnTo>
                  <a:pt x="259" y="493"/>
                </a:lnTo>
                <a:close/>
                <a:moveTo>
                  <a:pt x="259" y="359"/>
                </a:moveTo>
                <a:cubicBezTo>
                  <a:pt x="227" y="361"/>
                  <a:pt x="198" y="368"/>
                  <a:pt x="171" y="378"/>
                </a:cubicBezTo>
                <a:cubicBezTo>
                  <a:pt x="168" y="371"/>
                  <a:pt x="166" y="362"/>
                  <a:pt x="163" y="355"/>
                </a:cubicBezTo>
                <a:cubicBezTo>
                  <a:pt x="158" y="341"/>
                  <a:pt x="157" y="328"/>
                  <a:pt x="154" y="315"/>
                </a:cubicBezTo>
                <a:cubicBezTo>
                  <a:pt x="152" y="307"/>
                  <a:pt x="152" y="299"/>
                  <a:pt x="151" y="290"/>
                </a:cubicBezTo>
                <a:cubicBezTo>
                  <a:pt x="259" y="290"/>
                  <a:pt x="259" y="290"/>
                  <a:pt x="259" y="290"/>
                </a:cubicBezTo>
                <a:lnTo>
                  <a:pt x="259" y="359"/>
                </a:lnTo>
                <a:close/>
                <a:moveTo>
                  <a:pt x="259" y="259"/>
                </a:moveTo>
                <a:cubicBezTo>
                  <a:pt x="151" y="259"/>
                  <a:pt x="151" y="259"/>
                  <a:pt x="151" y="259"/>
                </a:cubicBezTo>
                <a:cubicBezTo>
                  <a:pt x="152" y="250"/>
                  <a:pt x="152" y="241"/>
                  <a:pt x="154" y="232"/>
                </a:cubicBezTo>
                <a:cubicBezTo>
                  <a:pt x="157" y="219"/>
                  <a:pt x="158" y="207"/>
                  <a:pt x="163" y="194"/>
                </a:cubicBezTo>
                <a:cubicBezTo>
                  <a:pt x="166" y="185"/>
                  <a:pt x="168" y="177"/>
                  <a:pt x="171" y="170"/>
                </a:cubicBezTo>
                <a:cubicBezTo>
                  <a:pt x="198" y="180"/>
                  <a:pt x="227" y="188"/>
                  <a:pt x="259" y="189"/>
                </a:cubicBezTo>
                <a:lnTo>
                  <a:pt x="259" y="259"/>
                </a:lnTo>
                <a:close/>
                <a:moveTo>
                  <a:pt x="259" y="157"/>
                </a:moveTo>
                <a:cubicBezTo>
                  <a:pt x="232" y="155"/>
                  <a:pt x="208" y="149"/>
                  <a:pt x="185" y="141"/>
                </a:cubicBezTo>
                <a:cubicBezTo>
                  <a:pt x="188" y="135"/>
                  <a:pt x="191" y="129"/>
                  <a:pt x="195" y="123"/>
                </a:cubicBezTo>
                <a:cubicBezTo>
                  <a:pt x="202" y="113"/>
                  <a:pt x="210" y="102"/>
                  <a:pt x="217" y="92"/>
                </a:cubicBezTo>
                <a:cubicBezTo>
                  <a:pt x="226" y="83"/>
                  <a:pt x="235" y="74"/>
                  <a:pt x="244" y="65"/>
                </a:cubicBezTo>
                <a:cubicBezTo>
                  <a:pt x="250" y="61"/>
                  <a:pt x="254" y="58"/>
                  <a:pt x="259" y="53"/>
                </a:cubicBezTo>
                <a:lnTo>
                  <a:pt x="259" y="157"/>
                </a:lnTo>
                <a:close/>
                <a:moveTo>
                  <a:pt x="515" y="259"/>
                </a:moveTo>
                <a:cubicBezTo>
                  <a:pt x="428" y="259"/>
                  <a:pt x="428" y="259"/>
                  <a:pt x="428" y="259"/>
                </a:cubicBezTo>
                <a:cubicBezTo>
                  <a:pt x="427" y="222"/>
                  <a:pt x="419" y="188"/>
                  <a:pt x="406" y="155"/>
                </a:cubicBezTo>
                <a:cubicBezTo>
                  <a:pt x="425" y="145"/>
                  <a:pt x="443" y="133"/>
                  <a:pt x="458" y="118"/>
                </a:cubicBezTo>
                <a:cubicBezTo>
                  <a:pt x="490" y="157"/>
                  <a:pt x="512" y="206"/>
                  <a:pt x="515" y="259"/>
                </a:cubicBezTo>
                <a:close/>
                <a:moveTo>
                  <a:pt x="436" y="95"/>
                </a:moveTo>
                <a:cubicBezTo>
                  <a:pt x="422" y="107"/>
                  <a:pt x="408" y="118"/>
                  <a:pt x="393" y="127"/>
                </a:cubicBezTo>
                <a:cubicBezTo>
                  <a:pt x="374" y="92"/>
                  <a:pt x="349" y="61"/>
                  <a:pt x="319" y="37"/>
                </a:cubicBezTo>
                <a:cubicBezTo>
                  <a:pt x="363" y="45"/>
                  <a:pt x="403" y="65"/>
                  <a:pt x="436" y="95"/>
                </a:cubicBezTo>
                <a:close/>
                <a:moveTo>
                  <a:pt x="289" y="53"/>
                </a:moveTo>
                <a:cubicBezTo>
                  <a:pt x="295" y="58"/>
                  <a:pt x="300" y="61"/>
                  <a:pt x="304" y="65"/>
                </a:cubicBezTo>
                <a:cubicBezTo>
                  <a:pt x="313" y="74"/>
                  <a:pt x="322" y="83"/>
                  <a:pt x="331" y="92"/>
                </a:cubicBezTo>
                <a:cubicBezTo>
                  <a:pt x="340" y="102"/>
                  <a:pt x="347" y="113"/>
                  <a:pt x="353" y="123"/>
                </a:cubicBezTo>
                <a:cubicBezTo>
                  <a:pt x="357" y="129"/>
                  <a:pt x="360" y="135"/>
                  <a:pt x="363" y="141"/>
                </a:cubicBezTo>
                <a:cubicBezTo>
                  <a:pt x="341" y="149"/>
                  <a:pt x="316" y="155"/>
                  <a:pt x="289" y="157"/>
                </a:cubicBezTo>
                <a:lnTo>
                  <a:pt x="289" y="53"/>
                </a:lnTo>
                <a:close/>
                <a:moveTo>
                  <a:pt x="289" y="189"/>
                </a:moveTo>
                <a:cubicBezTo>
                  <a:pt x="321" y="188"/>
                  <a:pt x="350" y="180"/>
                  <a:pt x="378" y="170"/>
                </a:cubicBezTo>
                <a:cubicBezTo>
                  <a:pt x="381" y="177"/>
                  <a:pt x="384" y="185"/>
                  <a:pt x="385" y="194"/>
                </a:cubicBezTo>
                <a:cubicBezTo>
                  <a:pt x="390" y="207"/>
                  <a:pt x="393" y="219"/>
                  <a:pt x="394" y="232"/>
                </a:cubicBezTo>
                <a:cubicBezTo>
                  <a:pt x="396" y="241"/>
                  <a:pt x="397" y="250"/>
                  <a:pt x="397" y="259"/>
                </a:cubicBezTo>
                <a:cubicBezTo>
                  <a:pt x="289" y="259"/>
                  <a:pt x="289" y="259"/>
                  <a:pt x="289" y="259"/>
                </a:cubicBezTo>
                <a:lnTo>
                  <a:pt x="289" y="189"/>
                </a:lnTo>
                <a:close/>
                <a:moveTo>
                  <a:pt x="289" y="290"/>
                </a:moveTo>
                <a:cubicBezTo>
                  <a:pt x="397" y="290"/>
                  <a:pt x="397" y="290"/>
                  <a:pt x="397" y="290"/>
                </a:cubicBezTo>
                <a:cubicBezTo>
                  <a:pt x="397" y="299"/>
                  <a:pt x="396" y="307"/>
                  <a:pt x="394" y="315"/>
                </a:cubicBezTo>
                <a:cubicBezTo>
                  <a:pt x="393" y="328"/>
                  <a:pt x="390" y="341"/>
                  <a:pt x="385" y="355"/>
                </a:cubicBezTo>
                <a:cubicBezTo>
                  <a:pt x="384" y="362"/>
                  <a:pt x="381" y="371"/>
                  <a:pt x="378" y="378"/>
                </a:cubicBezTo>
                <a:cubicBezTo>
                  <a:pt x="350" y="368"/>
                  <a:pt x="321" y="361"/>
                  <a:pt x="289" y="359"/>
                </a:cubicBezTo>
                <a:lnTo>
                  <a:pt x="289" y="290"/>
                </a:lnTo>
                <a:close/>
                <a:moveTo>
                  <a:pt x="289" y="493"/>
                </a:moveTo>
                <a:cubicBezTo>
                  <a:pt x="289" y="390"/>
                  <a:pt x="289" y="390"/>
                  <a:pt x="289" y="390"/>
                </a:cubicBezTo>
                <a:cubicBezTo>
                  <a:pt x="316" y="393"/>
                  <a:pt x="341" y="399"/>
                  <a:pt x="363" y="408"/>
                </a:cubicBezTo>
                <a:cubicBezTo>
                  <a:pt x="360" y="414"/>
                  <a:pt x="357" y="420"/>
                  <a:pt x="353" y="425"/>
                </a:cubicBezTo>
                <a:cubicBezTo>
                  <a:pt x="347" y="436"/>
                  <a:pt x="340" y="446"/>
                  <a:pt x="331" y="456"/>
                </a:cubicBezTo>
                <a:cubicBezTo>
                  <a:pt x="322" y="465"/>
                  <a:pt x="313" y="474"/>
                  <a:pt x="304" y="483"/>
                </a:cubicBezTo>
                <a:cubicBezTo>
                  <a:pt x="300" y="486"/>
                  <a:pt x="295" y="490"/>
                  <a:pt x="289" y="493"/>
                </a:cubicBezTo>
                <a:close/>
                <a:moveTo>
                  <a:pt x="319" y="511"/>
                </a:moveTo>
                <a:cubicBezTo>
                  <a:pt x="349" y="486"/>
                  <a:pt x="374" y="456"/>
                  <a:pt x="393" y="421"/>
                </a:cubicBezTo>
                <a:cubicBezTo>
                  <a:pt x="408" y="430"/>
                  <a:pt x="422" y="440"/>
                  <a:pt x="436" y="454"/>
                </a:cubicBezTo>
                <a:cubicBezTo>
                  <a:pt x="403" y="482"/>
                  <a:pt x="363" y="502"/>
                  <a:pt x="319" y="511"/>
                </a:cubicBezTo>
                <a:close/>
                <a:moveTo>
                  <a:pt x="458" y="430"/>
                </a:moveTo>
                <a:cubicBezTo>
                  <a:pt x="443" y="415"/>
                  <a:pt x="425" y="402"/>
                  <a:pt x="406" y="392"/>
                </a:cubicBezTo>
                <a:cubicBezTo>
                  <a:pt x="419" y="361"/>
                  <a:pt x="427" y="327"/>
                  <a:pt x="428" y="290"/>
                </a:cubicBezTo>
                <a:cubicBezTo>
                  <a:pt x="515" y="290"/>
                  <a:pt x="515" y="290"/>
                  <a:pt x="515" y="290"/>
                </a:cubicBezTo>
                <a:cubicBezTo>
                  <a:pt x="512" y="343"/>
                  <a:pt x="490" y="392"/>
                  <a:pt x="458" y="4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grpSp>
        <p:nvGrpSpPr>
          <p:cNvPr id="62" name="Group 61"/>
          <p:cNvGrpSpPr/>
          <p:nvPr/>
        </p:nvGrpSpPr>
        <p:grpSpPr>
          <a:xfrm>
            <a:off x="9064099" y="4015409"/>
            <a:ext cx="300564" cy="316069"/>
            <a:chOff x="2919413" y="3781425"/>
            <a:chExt cx="400050" cy="420688"/>
          </a:xfrm>
          <a:solidFill>
            <a:schemeClr val="bg1"/>
          </a:solidFill>
        </p:grpSpPr>
        <p:sp>
          <p:nvSpPr>
            <p:cNvPr id="63" name="Freeform 64"/>
            <p:cNvSpPr>
              <a:spLocks noEditPoints="1"/>
            </p:cNvSpPr>
            <p:nvPr/>
          </p:nvSpPr>
          <p:spPr bwMode="auto">
            <a:xfrm>
              <a:off x="3059113" y="3781425"/>
              <a:ext cx="120650" cy="420688"/>
            </a:xfrm>
            <a:custGeom>
              <a:avLst/>
              <a:gdLst>
                <a:gd name="T0" fmla="*/ 137 w 156"/>
                <a:gd name="T1" fmla="*/ 548 h 548"/>
                <a:gd name="T2" fmla="*/ 0 w 156"/>
                <a:gd name="T3" fmla="*/ 528 h 548"/>
                <a:gd name="T4" fmla="*/ 137 w 156"/>
                <a:gd name="T5" fmla="*/ 509 h 548"/>
                <a:gd name="T6" fmla="*/ 137 w 156"/>
                <a:gd name="T7" fmla="*/ 453 h 548"/>
                <a:gd name="T8" fmla="*/ 0 w 156"/>
                <a:gd name="T9" fmla="*/ 472 h 548"/>
                <a:gd name="T10" fmla="*/ 137 w 156"/>
                <a:gd name="T11" fmla="*/ 492 h 548"/>
                <a:gd name="T12" fmla="*/ 137 w 156"/>
                <a:gd name="T13" fmla="*/ 453 h 548"/>
                <a:gd name="T14" fmla="*/ 19 w 156"/>
                <a:gd name="T15" fmla="*/ 397 h 548"/>
                <a:gd name="T16" fmla="*/ 19 w 156"/>
                <a:gd name="T17" fmla="*/ 436 h 548"/>
                <a:gd name="T18" fmla="*/ 156 w 156"/>
                <a:gd name="T19" fmla="*/ 416 h 548"/>
                <a:gd name="T20" fmla="*/ 137 w 156"/>
                <a:gd name="T21" fmla="*/ 341 h 548"/>
                <a:gd name="T22" fmla="*/ 0 w 156"/>
                <a:gd name="T23" fmla="*/ 361 h 548"/>
                <a:gd name="T24" fmla="*/ 137 w 156"/>
                <a:gd name="T25" fmla="*/ 380 h 548"/>
                <a:gd name="T26" fmla="*/ 137 w 156"/>
                <a:gd name="T27" fmla="*/ 341 h 548"/>
                <a:gd name="T28" fmla="*/ 19 w 156"/>
                <a:gd name="T29" fmla="*/ 285 h 548"/>
                <a:gd name="T30" fmla="*/ 19 w 156"/>
                <a:gd name="T31" fmla="*/ 324 h 548"/>
                <a:gd name="T32" fmla="*/ 156 w 156"/>
                <a:gd name="T33" fmla="*/ 305 h 548"/>
                <a:gd name="T34" fmla="*/ 137 w 156"/>
                <a:gd name="T35" fmla="*/ 229 h 548"/>
                <a:gd name="T36" fmla="*/ 0 w 156"/>
                <a:gd name="T37" fmla="*/ 249 h 548"/>
                <a:gd name="T38" fmla="*/ 137 w 156"/>
                <a:gd name="T39" fmla="*/ 268 h 548"/>
                <a:gd name="T40" fmla="*/ 137 w 156"/>
                <a:gd name="T41" fmla="*/ 229 h 548"/>
                <a:gd name="T42" fmla="*/ 19 w 156"/>
                <a:gd name="T43" fmla="*/ 168 h 548"/>
                <a:gd name="T44" fmla="*/ 19 w 156"/>
                <a:gd name="T45" fmla="*/ 207 h 548"/>
                <a:gd name="T46" fmla="*/ 156 w 156"/>
                <a:gd name="T47" fmla="*/ 188 h 548"/>
                <a:gd name="T48" fmla="*/ 137 w 156"/>
                <a:gd name="T49" fmla="*/ 112 h 548"/>
                <a:gd name="T50" fmla="*/ 0 w 156"/>
                <a:gd name="T51" fmla="*/ 132 h 548"/>
                <a:gd name="T52" fmla="*/ 137 w 156"/>
                <a:gd name="T53" fmla="*/ 151 h 548"/>
                <a:gd name="T54" fmla="*/ 137 w 156"/>
                <a:gd name="T55" fmla="*/ 112 h 548"/>
                <a:gd name="T56" fmla="*/ 19 w 156"/>
                <a:gd name="T57" fmla="*/ 56 h 548"/>
                <a:gd name="T58" fmla="*/ 19 w 156"/>
                <a:gd name="T59" fmla="*/ 95 h 548"/>
                <a:gd name="T60" fmla="*/ 156 w 156"/>
                <a:gd name="T61" fmla="*/ 76 h 548"/>
                <a:gd name="T62" fmla="*/ 137 w 156"/>
                <a:gd name="T63" fmla="*/ 0 h 548"/>
                <a:gd name="T64" fmla="*/ 0 w 156"/>
                <a:gd name="T65" fmla="*/ 20 h 548"/>
                <a:gd name="T66" fmla="*/ 137 w 156"/>
                <a:gd name="T67" fmla="*/ 40 h 548"/>
                <a:gd name="T68" fmla="*/ 137 w 156"/>
                <a:gd name="T6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548">
                  <a:moveTo>
                    <a:pt x="156" y="528"/>
                  </a:moveTo>
                  <a:cubicBezTo>
                    <a:pt x="156" y="539"/>
                    <a:pt x="148" y="548"/>
                    <a:pt x="137" y="548"/>
                  </a:cubicBezTo>
                  <a:cubicBezTo>
                    <a:pt x="19" y="548"/>
                    <a:pt x="19" y="548"/>
                    <a:pt x="19" y="548"/>
                  </a:cubicBezTo>
                  <a:cubicBezTo>
                    <a:pt x="8" y="548"/>
                    <a:pt x="0" y="539"/>
                    <a:pt x="0" y="528"/>
                  </a:cubicBezTo>
                  <a:cubicBezTo>
                    <a:pt x="0" y="517"/>
                    <a:pt x="8" y="509"/>
                    <a:pt x="19" y="509"/>
                  </a:cubicBezTo>
                  <a:cubicBezTo>
                    <a:pt x="137" y="509"/>
                    <a:pt x="137" y="509"/>
                    <a:pt x="137" y="509"/>
                  </a:cubicBezTo>
                  <a:cubicBezTo>
                    <a:pt x="148" y="509"/>
                    <a:pt x="156" y="517"/>
                    <a:pt x="156" y="528"/>
                  </a:cubicBezTo>
                  <a:close/>
                  <a:moveTo>
                    <a:pt x="137" y="453"/>
                  </a:moveTo>
                  <a:cubicBezTo>
                    <a:pt x="19" y="453"/>
                    <a:pt x="19" y="453"/>
                    <a:pt x="19" y="453"/>
                  </a:cubicBezTo>
                  <a:cubicBezTo>
                    <a:pt x="8" y="453"/>
                    <a:pt x="0" y="461"/>
                    <a:pt x="0" y="472"/>
                  </a:cubicBezTo>
                  <a:cubicBezTo>
                    <a:pt x="0" y="483"/>
                    <a:pt x="8" y="492"/>
                    <a:pt x="19" y="492"/>
                  </a:cubicBezTo>
                  <a:cubicBezTo>
                    <a:pt x="137" y="492"/>
                    <a:pt x="137" y="492"/>
                    <a:pt x="137" y="492"/>
                  </a:cubicBezTo>
                  <a:cubicBezTo>
                    <a:pt x="148" y="492"/>
                    <a:pt x="156" y="483"/>
                    <a:pt x="156" y="472"/>
                  </a:cubicBezTo>
                  <a:cubicBezTo>
                    <a:pt x="156" y="461"/>
                    <a:pt x="148" y="453"/>
                    <a:pt x="137" y="453"/>
                  </a:cubicBezTo>
                  <a:close/>
                  <a:moveTo>
                    <a:pt x="137" y="397"/>
                  </a:moveTo>
                  <a:cubicBezTo>
                    <a:pt x="19" y="397"/>
                    <a:pt x="19" y="397"/>
                    <a:pt x="19" y="397"/>
                  </a:cubicBezTo>
                  <a:cubicBezTo>
                    <a:pt x="8" y="397"/>
                    <a:pt x="0" y="406"/>
                    <a:pt x="0" y="416"/>
                  </a:cubicBezTo>
                  <a:cubicBezTo>
                    <a:pt x="0" y="427"/>
                    <a:pt x="8" y="436"/>
                    <a:pt x="19" y="436"/>
                  </a:cubicBezTo>
                  <a:cubicBezTo>
                    <a:pt x="137" y="436"/>
                    <a:pt x="137" y="436"/>
                    <a:pt x="137" y="436"/>
                  </a:cubicBezTo>
                  <a:cubicBezTo>
                    <a:pt x="148" y="436"/>
                    <a:pt x="156" y="427"/>
                    <a:pt x="156" y="416"/>
                  </a:cubicBezTo>
                  <a:cubicBezTo>
                    <a:pt x="156" y="406"/>
                    <a:pt x="148" y="397"/>
                    <a:pt x="137" y="397"/>
                  </a:cubicBezTo>
                  <a:close/>
                  <a:moveTo>
                    <a:pt x="137" y="341"/>
                  </a:moveTo>
                  <a:cubicBezTo>
                    <a:pt x="19" y="341"/>
                    <a:pt x="19" y="341"/>
                    <a:pt x="19" y="341"/>
                  </a:cubicBezTo>
                  <a:cubicBezTo>
                    <a:pt x="8" y="341"/>
                    <a:pt x="0" y="350"/>
                    <a:pt x="0" y="361"/>
                  </a:cubicBezTo>
                  <a:cubicBezTo>
                    <a:pt x="0" y="371"/>
                    <a:pt x="8" y="380"/>
                    <a:pt x="19" y="380"/>
                  </a:cubicBezTo>
                  <a:cubicBezTo>
                    <a:pt x="137" y="380"/>
                    <a:pt x="137" y="380"/>
                    <a:pt x="137" y="380"/>
                  </a:cubicBezTo>
                  <a:cubicBezTo>
                    <a:pt x="148" y="380"/>
                    <a:pt x="156" y="371"/>
                    <a:pt x="156" y="361"/>
                  </a:cubicBezTo>
                  <a:cubicBezTo>
                    <a:pt x="156" y="350"/>
                    <a:pt x="148" y="341"/>
                    <a:pt x="137" y="341"/>
                  </a:cubicBezTo>
                  <a:close/>
                  <a:moveTo>
                    <a:pt x="137" y="285"/>
                  </a:moveTo>
                  <a:cubicBezTo>
                    <a:pt x="19" y="285"/>
                    <a:pt x="19" y="285"/>
                    <a:pt x="19" y="285"/>
                  </a:cubicBezTo>
                  <a:cubicBezTo>
                    <a:pt x="8" y="285"/>
                    <a:pt x="0" y="294"/>
                    <a:pt x="0" y="305"/>
                  </a:cubicBezTo>
                  <a:cubicBezTo>
                    <a:pt x="0" y="315"/>
                    <a:pt x="8" y="324"/>
                    <a:pt x="19" y="324"/>
                  </a:cubicBezTo>
                  <a:cubicBezTo>
                    <a:pt x="137" y="324"/>
                    <a:pt x="137" y="324"/>
                    <a:pt x="137" y="324"/>
                  </a:cubicBezTo>
                  <a:cubicBezTo>
                    <a:pt x="148" y="324"/>
                    <a:pt x="156" y="315"/>
                    <a:pt x="156" y="305"/>
                  </a:cubicBezTo>
                  <a:cubicBezTo>
                    <a:pt x="156" y="294"/>
                    <a:pt x="148" y="285"/>
                    <a:pt x="137" y="285"/>
                  </a:cubicBezTo>
                  <a:close/>
                  <a:moveTo>
                    <a:pt x="137" y="229"/>
                  </a:moveTo>
                  <a:cubicBezTo>
                    <a:pt x="19" y="229"/>
                    <a:pt x="19" y="229"/>
                    <a:pt x="19" y="229"/>
                  </a:cubicBezTo>
                  <a:cubicBezTo>
                    <a:pt x="8" y="229"/>
                    <a:pt x="0" y="238"/>
                    <a:pt x="0" y="249"/>
                  </a:cubicBezTo>
                  <a:cubicBezTo>
                    <a:pt x="0" y="260"/>
                    <a:pt x="8" y="268"/>
                    <a:pt x="19" y="268"/>
                  </a:cubicBezTo>
                  <a:cubicBezTo>
                    <a:pt x="137" y="268"/>
                    <a:pt x="137" y="268"/>
                    <a:pt x="137" y="268"/>
                  </a:cubicBezTo>
                  <a:cubicBezTo>
                    <a:pt x="148" y="268"/>
                    <a:pt x="156" y="260"/>
                    <a:pt x="156" y="249"/>
                  </a:cubicBezTo>
                  <a:cubicBezTo>
                    <a:pt x="156" y="238"/>
                    <a:pt x="148" y="229"/>
                    <a:pt x="137" y="229"/>
                  </a:cubicBezTo>
                  <a:close/>
                  <a:moveTo>
                    <a:pt x="137" y="168"/>
                  </a:moveTo>
                  <a:cubicBezTo>
                    <a:pt x="19" y="168"/>
                    <a:pt x="19" y="168"/>
                    <a:pt x="19" y="168"/>
                  </a:cubicBezTo>
                  <a:cubicBezTo>
                    <a:pt x="8" y="168"/>
                    <a:pt x="0" y="177"/>
                    <a:pt x="0" y="188"/>
                  </a:cubicBezTo>
                  <a:cubicBezTo>
                    <a:pt x="0" y="198"/>
                    <a:pt x="8" y="207"/>
                    <a:pt x="19" y="207"/>
                  </a:cubicBezTo>
                  <a:cubicBezTo>
                    <a:pt x="137" y="207"/>
                    <a:pt x="137" y="207"/>
                    <a:pt x="137" y="207"/>
                  </a:cubicBezTo>
                  <a:cubicBezTo>
                    <a:pt x="148" y="207"/>
                    <a:pt x="156" y="198"/>
                    <a:pt x="156" y="188"/>
                  </a:cubicBezTo>
                  <a:cubicBezTo>
                    <a:pt x="156" y="177"/>
                    <a:pt x="148" y="168"/>
                    <a:pt x="137" y="168"/>
                  </a:cubicBezTo>
                  <a:close/>
                  <a:moveTo>
                    <a:pt x="137" y="112"/>
                  </a:moveTo>
                  <a:cubicBezTo>
                    <a:pt x="19" y="112"/>
                    <a:pt x="19" y="112"/>
                    <a:pt x="19" y="112"/>
                  </a:cubicBezTo>
                  <a:cubicBezTo>
                    <a:pt x="8" y="112"/>
                    <a:pt x="0" y="121"/>
                    <a:pt x="0" y="132"/>
                  </a:cubicBezTo>
                  <a:cubicBezTo>
                    <a:pt x="0" y="142"/>
                    <a:pt x="8" y="151"/>
                    <a:pt x="19" y="151"/>
                  </a:cubicBezTo>
                  <a:cubicBezTo>
                    <a:pt x="137" y="151"/>
                    <a:pt x="137" y="151"/>
                    <a:pt x="137" y="151"/>
                  </a:cubicBezTo>
                  <a:cubicBezTo>
                    <a:pt x="148" y="151"/>
                    <a:pt x="156" y="142"/>
                    <a:pt x="156" y="132"/>
                  </a:cubicBezTo>
                  <a:cubicBezTo>
                    <a:pt x="156" y="121"/>
                    <a:pt x="148" y="112"/>
                    <a:pt x="137" y="112"/>
                  </a:cubicBezTo>
                  <a:close/>
                  <a:moveTo>
                    <a:pt x="137" y="56"/>
                  </a:moveTo>
                  <a:cubicBezTo>
                    <a:pt x="19" y="56"/>
                    <a:pt x="19" y="56"/>
                    <a:pt x="19" y="56"/>
                  </a:cubicBezTo>
                  <a:cubicBezTo>
                    <a:pt x="8" y="56"/>
                    <a:pt x="0" y="65"/>
                    <a:pt x="0" y="76"/>
                  </a:cubicBezTo>
                  <a:cubicBezTo>
                    <a:pt x="0" y="87"/>
                    <a:pt x="8" y="95"/>
                    <a:pt x="19" y="95"/>
                  </a:cubicBezTo>
                  <a:cubicBezTo>
                    <a:pt x="137" y="95"/>
                    <a:pt x="137" y="95"/>
                    <a:pt x="137" y="95"/>
                  </a:cubicBezTo>
                  <a:cubicBezTo>
                    <a:pt x="148" y="95"/>
                    <a:pt x="156" y="87"/>
                    <a:pt x="156" y="76"/>
                  </a:cubicBezTo>
                  <a:cubicBezTo>
                    <a:pt x="156" y="65"/>
                    <a:pt x="148" y="56"/>
                    <a:pt x="137" y="56"/>
                  </a:cubicBezTo>
                  <a:close/>
                  <a:moveTo>
                    <a:pt x="137" y="0"/>
                  </a:moveTo>
                  <a:cubicBezTo>
                    <a:pt x="19" y="0"/>
                    <a:pt x="19" y="0"/>
                    <a:pt x="19" y="0"/>
                  </a:cubicBezTo>
                  <a:cubicBezTo>
                    <a:pt x="8" y="0"/>
                    <a:pt x="0" y="9"/>
                    <a:pt x="0" y="20"/>
                  </a:cubicBezTo>
                  <a:cubicBezTo>
                    <a:pt x="0" y="31"/>
                    <a:pt x="8" y="40"/>
                    <a:pt x="19" y="40"/>
                  </a:cubicBezTo>
                  <a:cubicBezTo>
                    <a:pt x="137" y="40"/>
                    <a:pt x="137" y="40"/>
                    <a:pt x="137" y="40"/>
                  </a:cubicBezTo>
                  <a:cubicBezTo>
                    <a:pt x="148" y="40"/>
                    <a:pt x="156" y="31"/>
                    <a:pt x="156" y="20"/>
                  </a:cubicBezTo>
                  <a:cubicBezTo>
                    <a:pt x="156" y="9"/>
                    <a:pt x="148" y="0"/>
                    <a:pt x="13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64" name="Freeform 65"/>
            <p:cNvSpPr>
              <a:spLocks/>
            </p:cNvSpPr>
            <p:nvPr/>
          </p:nvSpPr>
          <p:spPr bwMode="auto">
            <a:xfrm>
              <a:off x="2919413" y="4171950"/>
              <a:ext cx="120650" cy="30163"/>
            </a:xfrm>
            <a:custGeom>
              <a:avLst/>
              <a:gdLst>
                <a:gd name="T0" fmla="*/ 137 w 157"/>
                <a:gd name="T1" fmla="*/ 0 h 39"/>
                <a:gd name="T2" fmla="*/ 20 w 157"/>
                <a:gd name="T3" fmla="*/ 0 h 39"/>
                <a:gd name="T4" fmla="*/ 0 w 157"/>
                <a:gd name="T5" fmla="*/ 19 h 39"/>
                <a:gd name="T6" fmla="*/ 20 w 157"/>
                <a:gd name="T7" fmla="*/ 39 h 39"/>
                <a:gd name="T8" fmla="*/ 137 w 157"/>
                <a:gd name="T9" fmla="*/ 39 h 39"/>
                <a:gd name="T10" fmla="*/ 157 w 157"/>
                <a:gd name="T11" fmla="*/ 19 h 39"/>
                <a:gd name="T12" fmla="*/ 137 w 15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57" h="39">
                  <a:moveTo>
                    <a:pt x="137" y="0"/>
                  </a:moveTo>
                  <a:cubicBezTo>
                    <a:pt x="20" y="0"/>
                    <a:pt x="20" y="0"/>
                    <a:pt x="20" y="0"/>
                  </a:cubicBezTo>
                  <a:cubicBezTo>
                    <a:pt x="9" y="0"/>
                    <a:pt x="0" y="8"/>
                    <a:pt x="0" y="19"/>
                  </a:cubicBezTo>
                  <a:cubicBezTo>
                    <a:pt x="0" y="30"/>
                    <a:pt x="9" y="39"/>
                    <a:pt x="20" y="39"/>
                  </a:cubicBezTo>
                  <a:cubicBezTo>
                    <a:pt x="137" y="39"/>
                    <a:pt x="137" y="39"/>
                    <a:pt x="137" y="39"/>
                  </a:cubicBezTo>
                  <a:cubicBezTo>
                    <a:pt x="148" y="39"/>
                    <a:pt x="157" y="30"/>
                    <a:pt x="157" y="19"/>
                  </a:cubicBezTo>
                  <a:cubicBezTo>
                    <a:pt x="157" y="8"/>
                    <a:pt x="148" y="0"/>
                    <a:pt x="13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65" name="Freeform 66"/>
            <p:cNvSpPr>
              <a:spLocks/>
            </p:cNvSpPr>
            <p:nvPr/>
          </p:nvSpPr>
          <p:spPr bwMode="auto">
            <a:xfrm>
              <a:off x="2919413" y="4129088"/>
              <a:ext cx="120650" cy="30163"/>
            </a:xfrm>
            <a:custGeom>
              <a:avLst/>
              <a:gdLst>
                <a:gd name="T0" fmla="*/ 137 w 157"/>
                <a:gd name="T1" fmla="*/ 0 h 39"/>
                <a:gd name="T2" fmla="*/ 20 w 157"/>
                <a:gd name="T3" fmla="*/ 0 h 39"/>
                <a:gd name="T4" fmla="*/ 0 w 157"/>
                <a:gd name="T5" fmla="*/ 19 h 39"/>
                <a:gd name="T6" fmla="*/ 20 w 157"/>
                <a:gd name="T7" fmla="*/ 39 h 39"/>
                <a:gd name="T8" fmla="*/ 137 w 157"/>
                <a:gd name="T9" fmla="*/ 39 h 39"/>
                <a:gd name="T10" fmla="*/ 157 w 157"/>
                <a:gd name="T11" fmla="*/ 19 h 39"/>
                <a:gd name="T12" fmla="*/ 137 w 15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57" h="39">
                  <a:moveTo>
                    <a:pt x="137" y="0"/>
                  </a:moveTo>
                  <a:cubicBezTo>
                    <a:pt x="20" y="0"/>
                    <a:pt x="20" y="0"/>
                    <a:pt x="20" y="0"/>
                  </a:cubicBezTo>
                  <a:cubicBezTo>
                    <a:pt x="9" y="0"/>
                    <a:pt x="0" y="8"/>
                    <a:pt x="0" y="19"/>
                  </a:cubicBezTo>
                  <a:cubicBezTo>
                    <a:pt x="0" y="30"/>
                    <a:pt x="9" y="39"/>
                    <a:pt x="20" y="39"/>
                  </a:cubicBezTo>
                  <a:cubicBezTo>
                    <a:pt x="137" y="39"/>
                    <a:pt x="137" y="39"/>
                    <a:pt x="137" y="39"/>
                  </a:cubicBezTo>
                  <a:cubicBezTo>
                    <a:pt x="148" y="39"/>
                    <a:pt x="157" y="30"/>
                    <a:pt x="157" y="19"/>
                  </a:cubicBezTo>
                  <a:cubicBezTo>
                    <a:pt x="157" y="8"/>
                    <a:pt x="148" y="0"/>
                    <a:pt x="13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66" name="Freeform 67"/>
            <p:cNvSpPr>
              <a:spLocks/>
            </p:cNvSpPr>
            <p:nvPr/>
          </p:nvSpPr>
          <p:spPr bwMode="auto">
            <a:xfrm>
              <a:off x="2919413" y="4086225"/>
              <a:ext cx="120650" cy="30163"/>
            </a:xfrm>
            <a:custGeom>
              <a:avLst/>
              <a:gdLst>
                <a:gd name="T0" fmla="*/ 137 w 157"/>
                <a:gd name="T1" fmla="*/ 0 h 39"/>
                <a:gd name="T2" fmla="*/ 20 w 157"/>
                <a:gd name="T3" fmla="*/ 0 h 39"/>
                <a:gd name="T4" fmla="*/ 0 w 157"/>
                <a:gd name="T5" fmla="*/ 19 h 39"/>
                <a:gd name="T6" fmla="*/ 20 w 157"/>
                <a:gd name="T7" fmla="*/ 39 h 39"/>
                <a:gd name="T8" fmla="*/ 137 w 157"/>
                <a:gd name="T9" fmla="*/ 39 h 39"/>
                <a:gd name="T10" fmla="*/ 157 w 157"/>
                <a:gd name="T11" fmla="*/ 19 h 39"/>
                <a:gd name="T12" fmla="*/ 137 w 15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57" h="39">
                  <a:moveTo>
                    <a:pt x="137" y="0"/>
                  </a:moveTo>
                  <a:cubicBezTo>
                    <a:pt x="20" y="0"/>
                    <a:pt x="20" y="0"/>
                    <a:pt x="20" y="0"/>
                  </a:cubicBezTo>
                  <a:cubicBezTo>
                    <a:pt x="9" y="0"/>
                    <a:pt x="0" y="9"/>
                    <a:pt x="0" y="19"/>
                  </a:cubicBezTo>
                  <a:cubicBezTo>
                    <a:pt x="0" y="30"/>
                    <a:pt x="9" y="39"/>
                    <a:pt x="20" y="39"/>
                  </a:cubicBezTo>
                  <a:cubicBezTo>
                    <a:pt x="137" y="39"/>
                    <a:pt x="137" y="39"/>
                    <a:pt x="137" y="39"/>
                  </a:cubicBezTo>
                  <a:cubicBezTo>
                    <a:pt x="148" y="39"/>
                    <a:pt x="157" y="30"/>
                    <a:pt x="157" y="19"/>
                  </a:cubicBezTo>
                  <a:cubicBezTo>
                    <a:pt x="157" y="9"/>
                    <a:pt x="148" y="0"/>
                    <a:pt x="13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67" name="Freeform 68"/>
            <p:cNvSpPr>
              <a:spLocks/>
            </p:cNvSpPr>
            <p:nvPr/>
          </p:nvSpPr>
          <p:spPr bwMode="auto">
            <a:xfrm>
              <a:off x="2919413" y="4043363"/>
              <a:ext cx="120650" cy="30163"/>
            </a:xfrm>
            <a:custGeom>
              <a:avLst/>
              <a:gdLst>
                <a:gd name="T0" fmla="*/ 137 w 157"/>
                <a:gd name="T1" fmla="*/ 0 h 39"/>
                <a:gd name="T2" fmla="*/ 20 w 157"/>
                <a:gd name="T3" fmla="*/ 0 h 39"/>
                <a:gd name="T4" fmla="*/ 0 w 157"/>
                <a:gd name="T5" fmla="*/ 20 h 39"/>
                <a:gd name="T6" fmla="*/ 20 w 157"/>
                <a:gd name="T7" fmla="*/ 39 h 39"/>
                <a:gd name="T8" fmla="*/ 137 w 157"/>
                <a:gd name="T9" fmla="*/ 39 h 39"/>
                <a:gd name="T10" fmla="*/ 157 w 157"/>
                <a:gd name="T11" fmla="*/ 20 h 39"/>
                <a:gd name="T12" fmla="*/ 137 w 15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57" h="39">
                  <a:moveTo>
                    <a:pt x="137" y="0"/>
                  </a:moveTo>
                  <a:cubicBezTo>
                    <a:pt x="20" y="0"/>
                    <a:pt x="20" y="0"/>
                    <a:pt x="20" y="0"/>
                  </a:cubicBezTo>
                  <a:cubicBezTo>
                    <a:pt x="9" y="0"/>
                    <a:pt x="0" y="9"/>
                    <a:pt x="0" y="20"/>
                  </a:cubicBezTo>
                  <a:cubicBezTo>
                    <a:pt x="0" y="30"/>
                    <a:pt x="9" y="39"/>
                    <a:pt x="20" y="39"/>
                  </a:cubicBezTo>
                  <a:cubicBezTo>
                    <a:pt x="137" y="39"/>
                    <a:pt x="137" y="39"/>
                    <a:pt x="137" y="39"/>
                  </a:cubicBezTo>
                  <a:cubicBezTo>
                    <a:pt x="148" y="39"/>
                    <a:pt x="157" y="30"/>
                    <a:pt x="157" y="20"/>
                  </a:cubicBezTo>
                  <a:cubicBezTo>
                    <a:pt x="157" y="9"/>
                    <a:pt x="148" y="0"/>
                    <a:pt x="13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68" name="Freeform 69"/>
            <p:cNvSpPr>
              <a:spLocks/>
            </p:cNvSpPr>
            <p:nvPr/>
          </p:nvSpPr>
          <p:spPr bwMode="auto">
            <a:xfrm>
              <a:off x="2919413" y="4000500"/>
              <a:ext cx="120650" cy="30163"/>
            </a:xfrm>
            <a:custGeom>
              <a:avLst/>
              <a:gdLst>
                <a:gd name="T0" fmla="*/ 137 w 157"/>
                <a:gd name="T1" fmla="*/ 0 h 39"/>
                <a:gd name="T2" fmla="*/ 20 w 157"/>
                <a:gd name="T3" fmla="*/ 0 h 39"/>
                <a:gd name="T4" fmla="*/ 0 w 157"/>
                <a:gd name="T5" fmla="*/ 20 h 39"/>
                <a:gd name="T6" fmla="*/ 20 w 157"/>
                <a:gd name="T7" fmla="*/ 39 h 39"/>
                <a:gd name="T8" fmla="*/ 137 w 157"/>
                <a:gd name="T9" fmla="*/ 39 h 39"/>
                <a:gd name="T10" fmla="*/ 157 w 157"/>
                <a:gd name="T11" fmla="*/ 20 h 39"/>
                <a:gd name="T12" fmla="*/ 137 w 15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57" h="39">
                  <a:moveTo>
                    <a:pt x="137" y="0"/>
                  </a:moveTo>
                  <a:cubicBezTo>
                    <a:pt x="20" y="0"/>
                    <a:pt x="20" y="0"/>
                    <a:pt x="20" y="0"/>
                  </a:cubicBezTo>
                  <a:cubicBezTo>
                    <a:pt x="9" y="0"/>
                    <a:pt x="0" y="9"/>
                    <a:pt x="0" y="20"/>
                  </a:cubicBezTo>
                  <a:cubicBezTo>
                    <a:pt x="0" y="30"/>
                    <a:pt x="9" y="39"/>
                    <a:pt x="20" y="39"/>
                  </a:cubicBezTo>
                  <a:cubicBezTo>
                    <a:pt x="137" y="39"/>
                    <a:pt x="137" y="39"/>
                    <a:pt x="137" y="39"/>
                  </a:cubicBezTo>
                  <a:cubicBezTo>
                    <a:pt x="148" y="39"/>
                    <a:pt x="157" y="30"/>
                    <a:pt x="157" y="20"/>
                  </a:cubicBezTo>
                  <a:cubicBezTo>
                    <a:pt x="157" y="9"/>
                    <a:pt x="148" y="0"/>
                    <a:pt x="13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69" name="Freeform 70"/>
            <p:cNvSpPr>
              <a:spLocks/>
            </p:cNvSpPr>
            <p:nvPr/>
          </p:nvSpPr>
          <p:spPr bwMode="auto">
            <a:xfrm>
              <a:off x="2919413" y="3957638"/>
              <a:ext cx="120650" cy="28575"/>
            </a:xfrm>
            <a:custGeom>
              <a:avLst/>
              <a:gdLst>
                <a:gd name="T0" fmla="*/ 137 w 157"/>
                <a:gd name="T1" fmla="*/ 0 h 39"/>
                <a:gd name="T2" fmla="*/ 20 w 157"/>
                <a:gd name="T3" fmla="*/ 0 h 39"/>
                <a:gd name="T4" fmla="*/ 0 w 157"/>
                <a:gd name="T5" fmla="*/ 20 h 39"/>
                <a:gd name="T6" fmla="*/ 20 w 157"/>
                <a:gd name="T7" fmla="*/ 39 h 39"/>
                <a:gd name="T8" fmla="*/ 137 w 157"/>
                <a:gd name="T9" fmla="*/ 39 h 39"/>
                <a:gd name="T10" fmla="*/ 157 w 157"/>
                <a:gd name="T11" fmla="*/ 20 h 39"/>
                <a:gd name="T12" fmla="*/ 137 w 15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57" h="39">
                  <a:moveTo>
                    <a:pt x="137" y="0"/>
                  </a:moveTo>
                  <a:cubicBezTo>
                    <a:pt x="20" y="0"/>
                    <a:pt x="20" y="0"/>
                    <a:pt x="20" y="0"/>
                  </a:cubicBezTo>
                  <a:cubicBezTo>
                    <a:pt x="9" y="0"/>
                    <a:pt x="0" y="9"/>
                    <a:pt x="0" y="20"/>
                  </a:cubicBezTo>
                  <a:cubicBezTo>
                    <a:pt x="0" y="31"/>
                    <a:pt x="9" y="39"/>
                    <a:pt x="20" y="39"/>
                  </a:cubicBezTo>
                  <a:cubicBezTo>
                    <a:pt x="137" y="39"/>
                    <a:pt x="137" y="39"/>
                    <a:pt x="137" y="39"/>
                  </a:cubicBezTo>
                  <a:cubicBezTo>
                    <a:pt x="148" y="39"/>
                    <a:pt x="157" y="31"/>
                    <a:pt x="157" y="20"/>
                  </a:cubicBezTo>
                  <a:cubicBezTo>
                    <a:pt x="157" y="9"/>
                    <a:pt x="148" y="0"/>
                    <a:pt x="13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70" name="Freeform 71"/>
            <p:cNvSpPr>
              <a:spLocks/>
            </p:cNvSpPr>
            <p:nvPr/>
          </p:nvSpPr>
          <p:spPr bwMode="auto">
            <a:xfrm>
              <a:off x="3198813" y="4171950"/>
              <a:ext cx="120650" cy="30163"/>
            </a:xfrm>
            <a:custGeom>
              <a:avLst/>
              <a:gdLst>
                <a:gd name="T0" fmla="*/ 137 w 157"/>
                <a:gd name="T1" fmla="*/ 0 h 39"/>
                <a:gd name="T2" fmla="*/ 20 w 157"/>
                <a:gd name="T3" fmla="*/ 0 h 39"/>
                <a:gd name="T4" fmla="*/ 0 w 157"/>
                <a:gd name="T5" fmla="*/ 19 h 39"/>
                <a:gd name="T6" fmla="*/ 20 w 157"/>
                <a:gd name="T7" fmla="*/ 39 h 39"/>
                <a:gd name="T8" fmla="*/ 137 w 157"/>
                <a:gd name="T9" fmla="*/ 39 h 39"/>
                <a:gd name="T10" fmla="*/ 157 w 157"/>
                <a:gd name="T11" fmla="*/ 19 h 39"/>
                <a:gd name="T12" fmla="*/ 137 w 15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57" h="39">
                  <a:moveTo>
                    <a:pt x="137" y="0"/>
                  </a:moveTo>
                  <a:cubicBezTo>
                    <a:pt x="20" y="0"/>
                    <a:pt x="20" y="0"/>
                    <a:pt x="20" y="0"/>
                  </a:cubicBezTo>
                  <a:cubicBezTo>
                    <a:pt x="9" y="0"/>
                    <a:pt x="0" y="8"/>
                    <a:pt x="0" y="19"/>
                  </a:cubicBezTo>
                  <a:cubicBezTo>
                    <a:pt x="0" y="30"/>
                    <a:pt x="9" y="39"/>
                    <a:pt x="20" y="39"/>
                  </a:cubicBezTo>
                  <a:cubicBezTo>
                    <a:pt x="137" y="39"/>
                    <a:pt x="137" y="39"/>
                    <a:pt x="137" y="39"/>
                  </a:cubicBezTo>
                  <a:cubicBezTo>
                    <a:pt x="148" y="39"/>
                    <a:pt x="157" y="30"/>
                    <a:pt x="157" y="19"/>
                  </a:cubicBezTo>
                  <a:cubicBezTo>
                    <a:pt x="157" y="8"/>
                    <a:pt x="148" y="0"/>
                    <a:pt x="13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71" name="Freeform 72"/>
            <p:cNvSpPr>
              <a:spLocks/>
            </p:cNvSpPr>
            <p:nvPr/>
          </p:nvSpPr>
          <p:spPr bwMode="auto">
            <a:xfrm>
              <a:off x="3198813" y="4129088"/>
              <a:ext cx="120650" cy="30163"/>
            </a:xfrm>
            <a:custGeom>
              <a:avLst/>
              <a:gdLst>
                <a:gd name="T0" fmla="*/ 137 w 157"/>
                <a:gd name="T1" fmla="*/ 0 h 39"/>
                <a:gd name="T2" fmla="*/ 20 w 157"/>
                <a:gd name="T3" fmla="*/ 0 h 39"/>
                <a:gd name="T4" fmla="*/ 0 w 157"/>
                <a:gd name="T5" fmla="*/ 19 h 39"/>
                <a:gd name="T6" fmla="*/ 20 w 157"/>
                <a:gd name="T7" fmla="*/ 39 h 39"/>
                <a:gd name="T8" fmla="*/ 137 w 157"/>
                <a:gd name="T9" fmla="*/ 39 h 39"/>
                <a:gd name="T10" fmla="*/ 157 w 157"/>
                <a:gd name="T11" fmla="*/ 19 h 39"/>
                <a:gd name="T12" fmla="*/ 137 w 15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57" h="39">
                  <a:moveTo>
                    <a:pt x="137" y="0"/>
                  </a:moveTo>
                  <a:cubicBezTo>
                    <a:pt x="20" y="0"/>
                    <a:pt x="20" y="0"/>
                    <a:pt x="20" y="0"/>
                  </a:cubicBezTo>
                  <a:cubicBezTo>
                    <a:pt x="9" y="0"/>
                    <a:pt x="0" y="8"/>
                    <a:pt x="0" y="19"/>
                  </a:cubicBezTo>
                  <a:cubicBezTo>
                    <a:pt x="0" y="30"/>
                    <a:pt x="9" y="39"/>
                    <a:pt x="20" y="39"/>
                  </a:cubicBezTo>
                  <a:cubicBezTo>
                    <a:pt x="137" y="39"/>
                    <a:pt x="137" y="39"/>
                    <a:pt x="137" y="39"/>
                  </a:cubicBezTo>
                  <a:cubicBezTo>
                    <a:pt x="148" y="39"/>
                    <a:pt x="157" y="30"/>
                    <a:pt x="157" y="19"/>
                  </a:cubicBezTo>
                  <a:cubicBezTo>
                    <a:pt x="157" y="8"/>
                    <a:pt x="148" y="0"/>
                    <a:pt x="13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72" name="Freeform 73"/>
            <p:cNvSpPr>
              <a:spLocks/>
            </p:cNvSpPr>
            <p:nvPr/>
          </p:nvSpPr>
          <p:spPr bwMode="auto">
            <a:xfrm>
              <a:off x="3198813" y="4086225"/>
              <a:ext cx="120650" cy="30163"/>
            </a:xfrm>
            <a:custGeom>
              <a:avLst/>
              <a:gdLst>
                <a:gd name="T0" fmla="*/ 137 w 157"/>
                <a:gd name="T1" fmla="*/ 0 h 39"/>
                <a:gd name="T2" fmla="*/ 20 w 157"/>
                <a:gd name="T3" fmla="*/ 0 h 39"/>
                <a:gd name="T4" fmla="*/ 0 w 157"/>
                <a:gd name="T5" fmla="*/ 19 h 39"/>
                <a:gd name="T6" fmla="*/ 20 w 157"/>
                <a:gd name="T7" fmla="*/ 39 h 39"/>
                <a:gd name="T8" fmla="*/ 137 w 157"/>
                <a:gd name="T9" fmla="*/ 39 h 39"/>
                <a:gd name="T10" fmla="*/ 157 w 157"/>
                <a:gd name="T11" fmla="*/ 19 h 39"/>
                <a:gd name="T12" fmla="*/ 137 w 15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57" h="39">
                  <a:moveTo>
                    <a:pt x="137" y="0"/>
                  </a:moveTo>
                  <a:cubicBezTo>
                    <a:pt x="20" y="0"/>
                    <a:pt x="20" y="0"/>
                    <a:pt x="20" y="0"/>
                  </a:cubicBezTo>
                  <a:cubicBezTo>
                    <a:pt x="9" y="0"/>
                    <a:pt x="0" y="9"/>
                    <a:pt x="0" y="19"/>
                  </a:cubicBezTo>
                  <a:cubicBezTo>
                    <a:pt x="0" y="30"/>
                    <a:pt x="9" y="39"/>
                    <a:pt x="20" y="39"/>
                  </a:cubicBezTo>
                  <a:cubicBezTo>
                    <a:pt x="137" y="39"/>
                    <a:pt x="137" y="39"/>
                    <a:pt x="137" y="39"/>
                  </a:cubicBezTo>
                  <a:cubicBezTo>
                    <a:pt x="148" y="39"/>
                    <a:pt x="157" y="30"/>
                    <a:pt x="157" y="19"/>
                  </a:cubicBezTo>
                  <a:cubicBezTo>
                    <a:pt x="157" y="9"/>
                    <a:pt x="148" y="0"/>
                    <a:pt x="13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73" name="Freeform 74"/>
            <p:cNvSpPr>
              <a:spLocks/>
            </p:cNvSpPr>
            <p:nvPr/>
          </p:nvSpPr>
          <p:spPr bwMode="auto">
            <a:xfrm>
              <a:off x="3198813" y="4043363"/>
              <a:ext cx="120650" cy="30163"/>
            </a:xfrm>
            <a:custGeom>
              <a:avLst/>
              <a:gdLst>
                <a:gd name="T0" fmla="*/ 20 w 157"/>
                <a:gd name="T1" fmla="*/ 39 h 39"/>
                <a:gd name="T2" fmla="*/ 137 w 157"/>
                <a:gd name="T3" fmla="*/ 39 h 39"/>
                <a:gd name="T4" fmla="*/ 157 w 157"/>
                <a:gd name="T5" fmla="*/ 20 h 39"/>
                <a:gd name="T6" fmla="*/ 137 w 157"/>
                <a:gd name="T7" fmla="*/ 0 h 39"/>
                <a:gd name="T8" fmla="*/ 20 w 157"/>
                <a:gd name="T9" fmla="*/ 0 h 39"/>
                <a:gd name="T10" fmla="*/ 0 w 157"/>
                <a:gd name="T11" fmla="*/ 20 h 39"/>
                <a:gd name="T12" fmla="*/ 20 w 157"/>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157" h="39">
                  <a:moveTo>
                    <a:pt x="20" y="39"/>
                  </a:moveTo>
                  <a:cubicBezTo>
                    <a:pt x="137" y="39"/>
                    <a:pt x="137" y="39"/>
                    <a:pt x="137" y="39"/>
                  </a:cubicBezTo>
                  <a:cubicBezTo>
                    <a:pt x="148" y="39"/>
                    <a:pt x="157" y="30"/>
                    <a:pt x="157" y="20"/>
                  </a:cubicBezTo>
                  <a:cubicBezTo>
                    <a:pt x="157" y="9"/>
                    <a:pt x="148" y="0"/>
                    <a:pt x="137" y="0"/>
                  </a:cubicBezTo>
                  <a:cubicBezTo>
                    <a:pt x="20" y="0"/>
                    <a:pt x="20" y="0"/>
                    <a:pt x="20" y="0"/>
                  </a:cubicBezTo>
                  <a:cubicBezTo>
                    <a:pt x="9" y="0"/>
                    <a:pt x="0" y="9"/>
                    <a:pt x="0" y="20"/>
                  </a:cubicBezTo>
                  <a:cubicBezTo>
                    <a:pt x="0" y="30"/>
                    <a:pt x="9" y="39"/>
                    <a:pt x="20" y="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grpSp>
      <p:grpSp>
        <p:nvGrpSpPr>
          <p:cNvPr id="74" name="Group 73"/>
          <p:cNvGrpSpPr/>
          <p:nvPr/>
        </p:nvGrpSpPr>
        <p:grpSpPr>
          <a:xfrm>
            <a:off x="6278494" y="4018987"/>
            <a:ext cx="306527" cy="308913"/>
            <a:chOff x="2066925" y="3786188"/>
            <a:chExt cx="407988" cy="411162"/>
          </a:xfrm>
          <a:solidFill>
            <a:schemeClr val="bg1"/>
          </a:solidFill>
        </p:grpSpPr>
        <p:sp>
          <p:nvSpPr>
            <p:cNvPr id="75" name="Freeform 75"/>
            <p:cNvSpPr>
              <a:spLocks noEditPoints="1"/>
            </p:cNvSpPr>
            <p:nvPr/>
          </p:nvSpPr>
          <p:spPr bwMode="auto">
            <a:xfrm>
              <a:off x="2179638" y="3892550"/>
              <a:ext cx="182563" cy="184150"/>
            </a:xfrm>
            <a:custGeom>
              <a:avLst/>
              <a:gdLst>
                <a:gd name="T0" fmla="*/ 119 w 239"/>
                <a:gd name="T1" fmla="*/ 0 h 239"/>
                <a:gd name="T2" fmla="*/ 239 w 239"/>
                <a:gd name="T3" fmla="*/ 119 h 239"/>
                <a:gd name="T4" fmla="*/ 120 w 239"/>
                <a:gd name="T5" fmla="*/ 239 h 239"/>
                <a:gd name="T6" fmla="*/ 0 w 239"/>
                <a:gd name="T7" fmla="*/ 120 h 239"/>
                <a:gd name="T8" fmla="*/ 119 w 239"/>
                <a:gd name="T9" fmla="*/ 0 h 239"/>
                <a:gd name="T10" fmla="*/ 137 w 239"/>
                <a:gd name="T11" fmla="*/ 48 h 239"/>
                <a:gd name="T12" fmla="*/ 137 w 239"/>
                <a:gd name="T13" fmla="*/ 36 h 239"/>
                <a:gd name="T14" fmla="*/ 111 w 239"/>
                <a:gd name="T15" fmla="*/ 36 h 239"/>
                <a:gd name="T16" fmla="*/ 111 w 239"/>
                <a:gd name="T17" fmla="*/ 48 h 239"/>
                <a:gd name="T18" fmla="*/ 84 w 239"/>
                <a:gd name="T19" fmla="*/ 63 h 239"/>
                <a:gd name="T20" fmla="*/ 75 w 239"/>
                <a:gd name="T21" fmla="*/ 86 h 239"/>
                <a:gd name="T22" fmla="*/ 81 w 239"/>
                <a:gd name="T23" fmla="*/ 110 h 239"/>
                <a:gd name="T24" fmla="*/ 100 w 239"/>
                <a:gd name="T25" fmla="*/ 124 h 239"/>
                <a:gd name="T26" fmla="*/ 106 w 239"/>
                <a:gd name="T27" fmla="*/ 127 h 239"/>
                <a:gd name="T28" fmla="*/ 111 w 239"/>
                <a:gd name="T29" fmla="*/ 129 h 239"/>
                <a:gd name="T30" fmla="*/ 111 w 239"/>
                <a:gd name="T31" fmla="*/ 167 h 239"/>
                <a:gd name="T32" fmla="*/ 101 w 239"/>
                <a:gd name="T33" fmla="*/ 159 h 239"/>
                <a:gd name="T34" fmla="*/ 98 w 239"/>
                <a:gd name="T35" fmla="*/ 145 h 239"/>
                <a:gd name="T36" fmla="*/ 72 w 239"/>
                <a:gd name="T37" fmla="*/ 145 h 239"/>
                <a:gd name="T38" fmla="*/ 81 w 239"/>
                <a:gd name="T39" fmla="*/ 174 h 239"/>
                <a:gd name="T40" fmla="*/ 111 w 239"/>
                <a:gd name="T41" fmla="*/ 193 h 239"/>
                <a:gd name="T42" fmla="*/ 111 w 239"/>
                <a:gd name="T43" fmla="*/ 206 h 239"/>
                <a:gd name="T44" fmla="*/ 137 w 239"/>
                <a:gd name="T45" fmla="*/ 206 h 239"/>
                <a:gd name="T46" fmla="*/ 137 w 239"/>
                <a:gd name="T47" fmla="*/ 193 h 239"/>
                <a:gd name="T48" fmla="*/ 165 w 239"/>
                <a:gd name="T49" fmla="*/ 180 h 239"/>
                <a:gd name="T50" fmla="*/ 176 w 239"/>
                <a:gd name="T51" fmla="*/ 155 h 239"/>
                <a:gd name="T52" fmla="*/ 171 w 239"/>
                <a:gd name="T53" fmla="*/ 132 h 239"/>
                <a:gd name="T54" fmla="*/ 152 w 239"/>
                <a:gd name="T55" fmla="*/ 117 h 239"/>
                <a:gd name="T56" fmla="*/ 144 w 239"/>
                <a:gd name="T57" fmla="*/ 113 h 239"/>
                <a:gd name="T58" fmla="*/ 137 w 239"/>
                <a:gd name="T59" fmla="*/ 111 h 239"/>
                <a:gd name="T60" fmla="*/ 137 w 239"/>
                <a:gd name="T61" fmla="*/ 72 h 239"/>
                <a:gd name="T62" fmla="*/ 145 w 239"/>
                <a:gd name="T63" fmla="*/ 81 h 239"/>
                <a:gd name="T64" fmla="*/ 147 w 239"/>
                <a:gd name="T65" fmla="*/ 92 h 239"/>
                <a:gd name="T66" fmla="*/ 171 w 239"/>
                <a:gd name="T67" fmla="*/ 92 h 239"/>
                <a:gd name="T68" fmla="*/ 164 w 239"/>
                <a:gd name="T69" fmla="*/ 68 h 239"/>
                <a:gd name="T70" fmla="*/ 137 w 239"/>
                <a:gd name="T71" fmla="*/ 48 h 239"/>
                <a:gd name="T72" fmla="*/ 137 w 239"/>
                <a:gd name="T73" fmla="*/ 168 h 239"/>
                <a:gd name="T74" fmla="*/ 146 w 239"/>
                <a:gd name="T75" fmla="*/ 163 h 239"/>
                <a:gd name="T76" fmla="*/ 150 w 239"/>
                <a:gd name="T77" fmla="*/ 155 h 239"/>
                <a:gd name="T78" fmla="*/ 148 w 239"/>
                <a:gd name="T79" fmla="*/ 144 h 239"/>
                <a:gd name="T80" fmla="*/ 139 w 239"/>
                <a:gd name="T81" fmla="*/ 137 h 239"/>
                <a:gd name="T82" fmla="*/ 138 w 239"/>
                <a:gd name="T83" fmla="*/ 137 h 239"/>
                <a:gd name="T84" fmla="*/ 137 w 239"/>
                <a:gd name="T85" fmla="*/ 136 h 239"/>
                <a:gd name="T86" fmla="*/ 137 w 239"/>
                <a:gd name="T87" fmla="*/ 168 h 239"/>
                <a:gd name="T88" fmla="*/ 102 w 239"/>
                <a:gd name="T89" fmla="*/ 78 h 239"/>
                <a:gd name="T90" fmla="*/ 99 w 239"/>
                <a:gd name="T91" fmla="*/ 88 h 239"/>
                <a:gd name="T92" fmla="*/ 103 w 239"/>
                <a:gd name="T93" fmla="*/ 97 h 239"/>
                <a:gd name="T94" fmla="*/ 111 w 239"/>
                <a:gd name="T95" fmla="*/ 104 h 239"/>
                <a:gd name="T96" fmla="*/ 111 w 239"/>
                <a:gd name="T97" fmla="*/ 71 h 239"/>
                <a:gd name="T98" fmla="*/ 102 w 239"/>
                <a:gd name="T99" fmla="*/ 7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9" h="239">
                  <a:moveTo>
                    <a:pt x="119" y="0"/>
                  </a:moveTo>
                  <a:cubicBezTo>
                    <a:pt x="185" y="0"/>
                    <a:pt x="239" y="53"/>
                    <a:pt x="239" y="119"/>
                  </a:cubicBezTo>
                  <a:cubicBezTo>
                    <a:pt x="239" y="185"/>
                    <a:pt x="186" y="239"/>
                    <a:pt x="120" y="239"/>
                  </a:cubicBezTo>
                  <a:cubicBezTo>
                    <a:pt x="54" y="239"/>
                    <a:pt x="0" y="186"/>
                    <a:pt x="0" y="120"/>
                  </a:cubicBezTo>
                  <a:cubicBezTo>
                    <a:pt x="0" y="54"/>
                    <a:pt x="53" y="0"/>
                    <a:pt x="119" y="0"/>
                  </a:cubicBezTo>
                  <a:close/>
                  <a:moveTo>
                    <a:pt x="137" y="48"/>
                  </a:moveTo>
                  <a:cubicBezTo>
                    <a:pt x="137" y="36"/>
                    <a:pt x="137" y="36"/>
                    <a:pt x="137" y="36"/>
                  </a:cubicBezTo>
                  <a:cubicBezTo>
                    <a:pt x="111" y="36"/>
                    <a:pt x="111" y="36"/>
                    <a:pt x="111" y="36"/>
                  </a:cubicBezTo>
                  <a:cubicBezTo>
                    <a:pt x="111" y="48"/>
                    <a:pt x="111" y="48"/>
                    <a:pt x="111" y="48"/>
                  </a:cubicBezTo>
                  <a:cubicBezTo>
                    <a:pt x="99" y="51"/>
                    <a:pt x="90" y="56"/>
                    <a:pt x="84" y="63"/>
                  </a:cubicBezTo>
                  <a:cubicBezTo>
                    <a:pt x="78" y="71"/>
                    <a:pt x="75" y="78"/>
                    <a:pt x="75" y="86"/>
                  </a:cubicBezTo>
                  <a:cubicBezTo>
                    <a:pt x="74" y="95"/>
                    <a:pt x="76" y="103"/>
                    <a:pt x="81" y="110"/>
                  </a:cubicBezTo>
                  <a:cubicBezTo>
                    <a:pt x="85" y="116"/>
                    <a:pt x="92" y="121"/>
                    <a:pt x="100" y="124"/>
                  </a:cubicBezTo>
                  <a:cubicBezTo>
                    <a:pt x="102" y="125"/>
                    <a:pt x="104" y="126"/>
                    <a:pt x="106" y="127"/>
                  </a:cubicBezTo>
                  <a:cubicBezTo>
                    <a:pt x="108" y="127"/>
                    <a:pt x="109" y="128"/>
                    <a:pt x="111" y="129"/>
                  </a:cubicBezTo>
                  <a:cubicBezTo>
                    <a:pt x="111" y="167"/>
                    <a:pt x="111" y="167"/>
                    <a:pt x="111" y="167"/>
                  </a:cubicBezTo>
                  <a:cubicBezTo>
                    <a:pt x="107" y="166"/>
                    <a:pt x="104" y="163"/>
                    <a:pt x="101" y="159"/>
                  </a:cubicBezTo>
                  <a:cubicBezTo>
                    <a:pt x="99" y="156"/>
                    <a:pt x="98" y="151"/>
                    <a:pt x="98" y="145"/>
                  </a:cubicBezTo>
                  <a:cubicBezTo>
                    <a:pt x="72" y="145"/>
                    <a:pt x="72" y="145"/>
                    <a:pt x="72" y="145"/>
                  </a:cubicBezTo>
                  <a:cubicBezTo>
                    <a:pt x="72" y="154"/>
                    <a:pt x="75" y="164"/>
                    <a:pt x="81" y="174"/>
                  </a:cubicBezTo>
                  <a:cubicBezTo>
                    <a:pt x="87" y="184"/>
                    <a:pt x="97" y="190"/>
                    <a:pt x="111" y="193"/>
                  </a:cubicBezTo>
                  <a:cubicBezTo>
                    <a:pt x="111" y="206"/>
                    <a:pt x="111" y="206"/>
                    <a:pt x="111" y="206"/>
                  </a:cubicBezTo>
                  <a:cubicBezTo>
                    <a:pt x="137" y="206"/>
                    <a:pt x="137" y="206"/>
                    <a:pt x="137" y="206"/>
                  </a:cubicBezTo>
                  <a:cubicBezTo>
                    <a:pt x="137" y="193"/>
                    <a:pt x="137" y="193"/>
                    <a:pt x="137" y="193"/>
                  </a:cubicBezTo>
                  <a:cubicBezTo>
                    <a:pt x="149" y="191"/>
                    <a:pt x="158" y="187"/>
                    <a:pt x="165" y="180"/>
                  </a:cubicBezTo>
                  <a:cubicBezTo>
                    <a:pt x="171" y="173"/>
                    <a:pt x="175" y="165"/>
                    <a:pt x="176" y="155"/>
                  </a:cubicBezTo>
                  <a:cubicBezTo>
                    <a:pt x="177" y="146"/>
                    <a:pt x="175" y="139"/>
                    <a:pt x="171" y="132"/>
                  </a:cubicBezTo>
                  <a:cubicBezTo>
                    <a:pt x="166" y="125"/>
                    <a:pt x="160" y="120"/>
                    <a:pt x="152" y="117"/>
                  </a:cubicBezTo>
                  <a:cubicBezTo>
                    <a:pt x="149" y="115"/>
                    <a:pt x="147" y="114"/>
                    <a:pt x="144" y="113"/>
                  </a:cubicBezTo>
                  <a:cubicBezTo>
                    <a:pt x="142" y="112"/>
                    <a:pt x="139" y="112"/>
                    <a:pt x="137" y="111"/>
                  </a:cubicBezTo>
                  <a:cubicBezTo>
                    <a:pt x="137" y="72"/>
                    <a:pt x="137" y="72"/>
                    <a:pt x="137" y="72"/>
                  </a:cubicBezTo>
                  <a:cubicBezTo>
                    <a:pt x="140" y="74"/>
                    <a:pt x="143" y="77"/>
                    <a:pt x="145" y="81"/>
                  </a:cubicBezTo>
                  <a:cubicBezTo>
                    <a:pt x="146" y="84"/>
                    <a:pt x="147" y="88"/>
                    <a:pt x="147" y="92"/>
                  </a:cubicBezTo>
                  <a:cubicBezTo>
                    <a:pt x="171" y="92"/>
                    <a:pt x="171" y="92"/>
                    <a:pt x="171" y="92"/>
                  </a:cubicBezTo>
                  <a:cubicBezTo>
                    <a:pt x="171" y="86"/>
                    <a:pt x="169" y="78"/>
                    <a:pt x="164" y="68"/>
                  </a:cubicBezTo>
                  <a:cubicBezTo>
                    <a:pt x="159" y="58"/>
                    <a:pt x="150" y="51"/>
                    <a:pt x="137" y="48"/>
                  </a:cubicBezTo>
                  <a:close/>
                  <a:moveTo>
                    <a:pt x="137" y="168"/>
                  </a:moveTo>
                  <a:cubicBezTo>
                    <a:pt x="141" y="167"/>
                    <a:pt x="144" y="165"/>
                    <a:pt x="146" y="163"/>
                  </a:cubicBezTo>
                  <a:cubicBezTo>
                    <a:pt x="148" y="161"/>
                    <a:pt x="149" y="158"/>
                    <a:pt x="150" y="155"/>
                  </a:cubicBezTo>
                  <a:cubicBezTo>
                    <a:pt x="150" y="151"/>
                    <a:pt x="150" y="147"/>
                    <a:pt x="148" y="144"/>
                  </a:cubicBezTo>
                  <a:cubicBezTo>
                    <a:pt x="146" y="141"/>
                    <a:pt x="143" y="139"/>
                    <a:pt x="139" y="137"/>
                  </a:cubicBezTo>
                  <a:cubicBezTo>
                    <a:pt x="139" y="137"/>
                    <a:pt x="138" y="137"/>
                    <a:pt x="138" y="137"/>
                  </a:cubicBezTo>
                  <a:cubicBezTo>
                    <a:pt x="138" y="136"/>
                    <a:pt x="137" y="136"/>
                    <a:pt x="137" y="136"/>
                  </a:cubicBezTo>
                  <a:lnTo>
                    <a:pt x="137" y="168"/>
                  </a:lnTo>
                  <a:close/>
                  <a:moveTo>
                    <a:pt x="102" y="78"/>
                  </a:moveTo>
                  <a:cubicBezTo>
                    <a:pt x="100" y="81"/>
                    <a:pt x="99" y="84"/>
                    <a:pt x="99" y="88"/>
                  </a:cubicBezTo>
                  <a:cubicBezTo>
                    <a:pt x="99" y="92"/>
                    <a:pt x="100" y="95"/>
                    <a:pt x="103" y="97"/>
                  </a:cubicBezTo>
                  <a:cubicBezTo>
                    <a:pt x="105" y="100"/>
                    <a:pt x="108" y="102"/>
                    <a:pt x="111" y="104"/>
                  </a:cubicBezTo>
                  <a:cubicBezTo>
                    <a:pt x="111" y="71"/>
                    <a:pt x="111" y="71"/>
                    <a:pt x="111" y="71"/>
                  </a:cubicBezTo>
                  <a:cubicBezTo>
                    <a:pt x="107" y="73"/>
                    <a:pt x="104" y="76"/>
                    <a:pt x="102"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76" name="Freeform 76"/>
            <p:cNvSpPr>
              <a:spLocks/>
            </p:cNvSpPr>
            <p:nvPr/>
          </p:nvSpPr>
          <p:spPr bwMode="auto">
            <a:xfrm>
              <a:off x="2066925" y="3786188"/>
              <a:ext cx="404813" cy="190500"/>
            </a:xfrm>
            <a:custGeom>
              <a:avLst/>
              <a:gdLst>
                <a:gd name="T0" fmla="*/ 54 w 525"/>
                <a:gd name="T1" fmla="*/ 248 h 248"/>
                <a:gd name="T2" fmla="*/ 0 w 525"/>
                <a:gd name="T3" fmla="*/ 241 h 248"/>
                <a:gd name="T4" fmla="*/ 265 w 525"/>
                <a:gd name="T5" fmla="*/ 0 h 248"/>
                <a:gd name="T6" fmla="*/ 483 w 525"/>
                <a:gd name="T7" fmla="*/ 114 h 248"/>
                <a:gd name="T8" fmla="*/ 514 w 525"/>
                <a:gd name="T9" fmla="*/ 93 h 248"/>
                <a:gd name="T10" fmla="*/ 525 w 525"/>
                <a:gd name="T11" fmla="*/ 99 h 248"/>
                <a:gd name="T12" fmla="*/ 525 w 525"/>
                <a:gd name="T13" fmla="*/ 214 h 248"/>
                <a:gd name="T14" fmla="*/ 511 w 525"/>
                <a:gd name="T15" fmla="*/ 224 h 248"/>
                <a:gd name="T16" fmla="*/ 403 w 525"/>
                <a:gd name="T17" fmla="*/ 184 h 248"/>
                <a:gd name="T18" fmla="*/ 401 w 525"/>
                <a:gd name="T19" fmla="*/ 172 h 248"/>
                <a:gd name="T20" fmla="*/ 438 w 525"/>
                <a:gd name="T21" fmla="*/ 145 h 248"/>
                <a:gd name="T22" fmla="*/ 265 w 525"/>
                <a:gd name="T23" fmla="*/ 55 h 248"/>
                <a:gd name="T24" fmla="*/ 54 w 525"/>
                <a:gd name="T25"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 h="248">
                  <a:moveTo>
                    <a:pt x="54" y="248"/>
                  </a:moveTo>
                  <a:cubicBezTo>
                    <a:pt x="0" y="241"/>
                    <a:pt x="0" y="241"/>
                    <a:pt x="0" y="241"/>
                  </a:cubicBezTo>
                  <a:cubicBezTo>
                    <a:pt x="13" y="106"/>
                    <a:pt x="127" y="0"/>
                    <a:pt x="265" y="0"/>
                  </a:cubicBezTo>
                  <a:cubicBezTo>
                    <a:pt x="355" y="1"/>
                    <a:pt x="435" y="46"/>
                    <a:pt x="483" y="114"/>
                  </a:cubicBezTo>
                  <a:cubicBezTo>
                    <a:pt x="514" y="93"/>
                    <a:pt x="514" y="93"/>
                    <a:pt x="514" y="93"/>
                  </a:cubicBezTo>
                  <a:cubicBezTo>
                    <a:pt x="520" y="89"/>
                    <a:pt x="525" y="92"/>
                    <a:pt x="525" y="99"/>
                  </a:cubicBezTo>
                  <a:cubicBezTo>
                    <a:pt x="525" y="214"/>
                    <a:pt x="525" y="214"/>
                    <a:pt x="525" y="214"/>
                  </a:cubicBezTo>
                  <a:cubicBezTo>
                    <a:pt x="525" y="222"/>
                    <a:pt x="519" y="226"/>
                    <a:pt x="511" y="224"/>
                  </a:cubicBezTo>
                  <a:cubicBezTo>
                    <a:pt x="403" y="184"/>
                    <a:pt x="403" y="184"/>
                    <a:pt x="403" y="184"/>
                  </a:cubicBezTo>
                  <a:cubicBezTo>
                    <a:pt x="396" y="181"/>
                    <a:pt x="395" y="176"/>
                    <a:pt x="401" y="172"/>
                  </a:cubicBezTo>
                  <a:cubicBezTo>
                    <a:pt x="438" y="145"/>
                    <a:pt x="438" y="145"/>
                    <a:pt x="438" y="145"/>
                  </a:cubicBezTo>
                  <a:cubicBezTo>
                    <a:pt x="400" y="91"/>
                    <a:pt x="337" y="55"/>
                    <a:pt x="265" y="55"/>
                  </a:cubicBezTo>
                  <a:cubicBezTo>
                    <a:pt x="155" y="55"/>
                    <a:pt x="64" y="139"/>
                    <a:pt x="54" y="2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77" name="Freeform 77"/>
            <p:cNvSpPr>
              <a:spLocks/>
            </p:cNvSpPr>
            <p:nvPr/>
          </p:nvSpPr>
          <p:spPr bwMode="auto">
            <a:xfrm>
              <a:off x="2071688" y="4006850"/>
              <a:ext cx="403225" cy="190500"/>
            </a:xfrm>
            <a:custGeom>
              <a:avLst/>
              <a:gdLst>
                <a:gd name="T0" fmla="*/ 471 w 525"/>
                <a:gd name="T1" fmla="*/ 0 h 248"/>
                <a:gd name="T2" fmla="*/ 260 w 525"/>
                <a:gd name="T3" fmla="*/ 193 h 248"/>
                <a:gd name="T4" fmla="*/ 87 w 525"/>
                <a:gd name="T5" fmla="*/ 103 h 248"/>
                <a:gd name="T6" fmla="*/ 124 w 525"/>
                <a:gd name="T7" fmla="*/ 76 h 248"/>
                <a:gd name="T8" fmla="*/ 122 w 525"/>
                <a:gd name="T9" fmla="*/ 64 h 248"/>
                <a:gd name="T10" fmla="*/ 14 w 525"/>
                <a:gd name="T11" fmla="*/ 24 h 248"/>
                <a:gd name="T12" fmla="*/ 0 w 525"/>
                <a:gd name="T13" fmla="*/ 34 h 248"/>
                <a:gd name="T14" fmla="*/ 0 w 525"/>
                <a:gd name="T15" fmla="*/ 148 h 248"/>
                <a:gd name="T16" fmla="*/ 11 w 525"/>
                <a:gd name="T17" fmla="*/ 155 h 248"/>
                <a:gd name="T18" fmla="*/ 42 w 525"/>
                <a:gd name="T19" fmla="*/ 134 h 248"/>
                <a:gd name="T20" fmla="*/ 260 w 525"/>
                <a:gd name="T21" fmla="*/ 248 h 248"/>
                <a:gd name="T22" fmla="*/ 525 w 525"/>
                <a:gd name="T23" fmla="*/ 7 h 248"/>
                <a:gd name="T24" fmla="*/ 471 w 525"/>
                <a:gd name="T2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 h="248">
                  <a:moveTo>
                    <a:pt x="471" y="0"/>
                  </a:moveTo>
                  <a:cubicBezTo>
                    <a:pt x="462" y="108"/>
                    <a:pt x="371" y="193"/>
                    <a:pt x="260" y="193"/>
                  </a:cubicBezTo>
                  <a:cubicBezTo>
                    <a:pt x="188" y="193"/>
                    <a:pt x="125" y="157"/>
                    <a:pt x="87" y="103"/>
                  </a:cubicBezTo>
                  <a:cubicBezTo>
                    <a:pt x="124" y="76"/>
                    <a:pt x="124" y="76"/>
                    <a:pt x="124" y="76"/>
                  </a:cubicBezTo>
                  <a:cubicBezTo>
                    <a:pt x="130" y="72"/>
                    <a:pt x="129" y="67"/>
                    <a:pt x="122" y="64"/>
                  </a:cubicBezTo>
                  <a:cubicBezTo>
                    <a:pt x="14" y="24"/>
                    <a:pt x="14" y="24"/>
                    <a:pt x="14" y="24"/>
                  </a:cubicBezTo>
                  <a:cubicBezTo>
                    <a:pt x="6" y="22"/>
                    <a:pt x="0" y="26"/>
                    <a:pt x="0" y="34"/>
                  </a:cubicBezTo>
                  <a:cubicBezTo>
                    <a:pt x="0" y="148"/>
                    <a:pt x="0" y="148"/>
                    <a:pt x="0" y="148"/>
                  </a:cubicBezTo>
                  <a:cubicBezTo>
                    <a:pt x="0" y="156"/>
                    <a:pt x="5" y="159"/>
                    <a:pt x="11" y="155"/>
                  </a:cubicBezTo>
                  <a:cubicBezTo>
                    <a:pt x="42" y="134"/>
                    <a:pt x="42" y="134"/>
                    <a:pt x="42" y="134"/>
                  </a:cubicBezTo>
                  <a:cubicBezTo>
                    <a:pt x="90" y="202"/>
                    <a:pt x="170" y="247"/>
                    <a:pt x="260" y="248"/>
                  </a:cubicBezTo>
                  <a:cubicBezTo>
                    <a:pt x="398" y="248"/>
                    <a:pt x="512" y="142"/>
                    <a:pt x="525" y="7"/>
                  </a:cubicBezTo>
                  <a:lnTo>
                    <a:pt x="47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grpSp>
      <p:grpSp>
        <p:nvGrpSpPr>
          <p:cNvPr id="78" name="Group 77"/>
          <p:cNvGrpSpPr/>
          <p:nvPr/>
        </p:nvGrpSpPr>
        <p:grpSpPr>
          <a:xfrm>
            <a:off x="9039052" y="2357601"/>
            <a:ext cx="335153" cy="335153"/>
            <a:chOff x="1200150" y="3768725"/>
            <a:chExt cx="446088" cy="446088"/>
          </a:xfrm>
          <a:solidFill>
            <a:schemeClr val="bg1"/>
          </a:solidFill>
        </p:grpSpPr>
        <p:sp>
          <p:nvSpPr>
            <p:cNvPr id="79" name="Freeform 78"/>
            <p:cNvSpPr>
              <a:spLocks/>
            </p:cNvSpPr>
            <p:nvPr/>
          </p:nvSpPr>
          <p:spPr bwMode="auto">
            <a:xfrm>
              <a:off x="1200150" y="3768725"/>
              <a:ext cx="446088" cy="446088"/>
            </a:xfrm>
            <a:custGeom>
              <a:avLst/>
              <a:gdLst>
                <a:gd name="T0" fmla="*/ 539 w 580"/>
                <a:gd name="T1" fmla="*/ 141 h 580"/>
                <a:gd name="T2" fmla="*/ 509 w 580"/>
                <a:gd name="T3" fmla="*/ 171 h 580"/>
                <a:gd name="T4" fmla="*/ 489 w 580"/>
                <a:gd name="T5" fmla="*/ 181 h 580"/>
                <a:gd name="T6" fmla="*/ 517 w 580"/>
                <a:gd name="T7" fmla="*/ 290 h 580"/>
                <a:gd name="T8" fmla="*/ 290 w 580"/>
                <a:gd name="T9" fmla="*/ 517 h 580"/>
                <a:gd name="T10" fmla="*/ 63 w 580"/>
                <a:gd name="T11" fmla="*/ 290 h 580"/>
                <a:gd name="T12" fmla="*/ 290 w 580"/>
                <a:gd name="T13" fmla="*/ 63 h 580"/>
                <a:gd name="T14" fmla="*/ 401 w 580"/>
                <a:gd name="T15" fmla="*/ 92 h 580"/>
                <a:gd name="T16" fmla="*/ 411 w 580"/>
                <a:gd name="T17" fmla="*/ 72 h 580"/>
                <a:gd name="T18" fmla="*/ 441 w 580"/>
                <a:gd name="T19" fmla="*/ 42 h 580"/>
                <a:gd name="T20" fmla="*/ 290 w 580"/>
                <a:gd name="T21" fmla="*/ 0 h 580"/>
                <a:gd name="T22" fmla="*/ 0 w 580"/>
                <a:gd name="T23" fmla="*/ 290 h 580"/>
                <a:gd name="T24" fmla="*/ 290 w 580"/>
                <a:gd name="T25" fmla="*/ 580 h 580"/>
                <a:gd name="T26" fmla="*/ 580 w 580"/>
                <a:gd name="T27" fmla="*/ 290 h 580"/>
                <a:gd name="T28" fmla="*/ 539 w 580"/>
                <a:gd name="T29" fmla="*/ 141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0" h="580">
                  <a:moveTo>
                    <a:pt x="539" y="141"/>
                  </a:moveTo>
                  <a:cubicBezTo>
                    <a:pt x="509" y="171"/>
                    <a:pt x="509" y="171"/>
                    <a:pt x="509" y="171"/>
                  </a:cubicBezTo>
                  <a:cubicBezTo>
                    <a:pt x="504" y="176"/>
                    <a:pt x="496" y="179"/>
                    <a:pt x="489" y="181"/>
                  </a:cubicBezTo>
                  <a:cubicBezTo>
                    <a:pt x="506" y="213"/>
                    <a:pt x="517" y="250"/>
                    <a:pt x="517" y="290"/>
                  </a:cubicBezTo>
                  <a:cubicBezTo>
                    <a:pt x="517" y="415"/>
                    <a:pt x="415" y="517"/>
                    <a:pt x="290" y="517"/>
                  </a:cubicBezTo>
                  <a:cubicBezTo>
                    <a:pt x="165" y="517"/>
                    <a:pt x="63" y="415"/>
                    <a:pt x="63" y="290"/>
                  </a:cubicBezTo>
                  <a:cubicBezTo>
                    <a:pt x="63" y="165"/>
                    <a:pt x="165" y="63"/>
                    <a:pt x="290" y="63"/>
                  </a:cubicBezTo>
                  <a:cubicBezTo>
                    <a:pt x="330" y="63"/>
                    <a:pt x="368" y="74"/>
                    <a:pt x="401" y="92"/>
                  </a:cubicBezTo>
                  <a:cubicBezTo>
                    <a:pt x="402" y="85"/>
                    <a:pt x="406" y="78"/>
                    <a:pt x="411" y="72"/>
                  </a:cubicBezTo>
                  <a:cubicBezTo>
                    <a:pt x="441" y="42"/>
                    <a:pt x="441" y="42"/>
                    <a:pt x="441" y="42"/>
                  </a:cubicBezTo>
                  <a:cubicBezTo>
                    <a:pt x="397" y="15"/>
                    <a:pt x="345" y="0"/>
                    <a:pt x="290" y="0"/>
                  </a:cubicBezTo>
                  <a:cubicBezTo>
                    <a:pt x="130" y="0"/>
                    <a:pt x="0" y="130"/>
                    <a:pt x="0" y="290"/>
                  </a:cubicBezTo>
                  <a:cubicBezTo>
                    <a:pt x="0" y="450"/>
                    <a:pt x="130" y="580"/>
                    <a:pt x="290" y="580"/>
                  </a:cubicBezTo>
                  <a:cubicBezTo>
                    <a:pt x="450" y="580"/>
                    <a:pt x="580" y="450"/>
                    <a:pt x="580" y="290"/>
                  </a:cubicBezTo>
                  <a:cubicBezTo>
                    <a:pt x="580" y="235"/>
                    <a:pt x="565" y="184"/>
                    <a:pt x="539" y="1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80" name="Freeform 79"/>
            <p:cNvSpPr>
              <a:spLocks/>
            </p:cNvSpPr>
            <p:nvPr/>
          </p:nvSpPr>
          <p:spPr bwMode="auto">
            <a:xfrm>
              <a:off x="1381125" y="3781425"/>
              <a:ext cx="252413" cy="252413"/>
            </a:xfrm>
            <a:custGeom>
              <a:avLst/>
              <a:gdLst>
                <a:gd name="T0" fmla="*/ 186 w 329"/>
                <a:gd name="T1" fmla="*/ 67 h 328"/>
                <a:gd name="T2" fmla="*/ 249 w 329"/>
                <a:gd name="T3" fmla="*/ 4 h 328"/>
                <a:gd name="T4" fmla="*/ 257 w 329"/>
                <a:gd name="T5" fmla="*/ 7 h 328"/>
                <a:gd name="T6" fmla="*/ 263 w 329"/>
                <a:gd name="T7" fmla="*/ 66 h 328"/>
                <a:gd name="T8" fmla="*/ 322 w 329"/>
                <a:gd name="T9" fmla="*/ 71 h 328"/>
                <a:gd name="T10" fmla="*/ 325 w 329"/>
                <a:gd name="T11" fmla="*/ 80 h 328"/>
                <a:gd name="T12" fmla="*/ 262 w 329"/>
                <a:gd name="T13" fmla="*/ 142 h 328"/>
                <a:gd name="T14" fmla="*/ 245 w 329"/>
                <a:gd name="T15" fmla="*/ 149 h 328"/>
                <a:gd name="T16" fmla="*/ 207 w 329"/>
                <a:gd name="T17" fmla="*/ 145 h 328"/>
                <a:gd name="T18" fmla="*/ 99 w 329"/>
                <a:gd name="T19" fmla="*/ 253 h 328"/>
                <a:gd name="T20" fmla="*/ 89 w 329"/>
                <a:gd name="T21" fmla="*/ 309 h 328"/>
                <a:gd name="T22" fmla="*/ 19 w 329"/>
                <a:gd name="T23" fmla="*/ 309 h 328"/>
                <a:gd name="T24" fmla="*/ 19 w 329"/>
                <a:gd name="T25" fmla="*/ 239 h 328"/>
                <a:gd name="T26" fmla="*/ 75 w 329"/>
                <a:gd name="T27" fmla="*/ 230 h 328"/>
                <a:gd name="T28" fmla="*/ 184 w 329"/>
                <a:gd name="T29" fmla="*/ 121 h 328"/>
                <a:gd name="T30" fmla="*/ 180 w 329"/>
                <a:gd name="T31" fmla="*/ 84 h 328"/>
                <a:gd name="T32" fmla="*/ 186 w 329"/>
                <a:gd name="T33" fmla="*/ 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9" h="328">
                  <a:moveTo>
                    <a:pt x="186" y="67"/>
                  </a:moveTo>
                  <a:cubicBezTo>
                    <a:pt x="249" y="4"/>
                    <a:pt x="249" y="4"/>
                    <a:pt x="249" y="4"/>
                  </a:cubicBezTo>
                  <a:cubicBezTo>
                    <a:pt x="253" y="0"/>
                    <a:pt x="256" y="1"/>
                    <a:pt x="257" y="7"/>
                  </a:cubicBezTo>
                  <a:cubicBezTo>
                    <a:pt x="263" y="66"/>
                    <a:pt x="263" y="66"/>
                    <a:pt x="263" y="66"/>
                  </a:cubicBezTo>
                  <a:cubicBezTo>
                    <a:pt x="322" y="71"/>
                    <a:pt x="322" y="71"/>
                    <a:pt x="322" y="71"/>
                  </a:cubicBezTo>
                  <a:cubicBezTo>
                    <a:pt x="327" y="72"/>
                    <a:pt x="329" y="76"/>
                    <a:pt x="325" y="80"/>
                  </a:cubicBezTo>
                  <a:cubicBezTo>
                    <a:pt x="262" y="142"/>
                    <a:pt x="262" y="142"/>
                    <a:pt x="262" y="142"/>
                  </a:cubicBezTo>
                  <a:cubicBezTo>
                    <a:pt x="258" y="146"/>
                    <a:pt x="250" y="149"/>
                    <a:pt x="245" y="149"/>
                  </a:cubicBezTo>
                  <a:cubicBezTo>
                    <a:pt x="207" y="145"/>
                    <a:pt x="207" y="145"/>
                    <a:pt x="207" y="145"/>
                  </a:cubicBezTo>
                  <a:cubicBezTo>
                    <a:pt x="99" y="253"/>
                    <a:pt x="99" y="253"/>
                    <a:pt x="99" y="253"/>
                  </a:cubicBezTo>
                  <a:cubicBezTo>
                    <a:pt x="107" y="272"/>
                    <a:pt x="104" y="294"/>
                    <a:pt x="89" y="309"/>
                  </a:cubicBezTo>
                  <a:cubicBezTo>
                    <a:pt x="70" y="328"/>
                    <a:pt x="39" y="328"/>
                    <a:pt x="19" y="309"/>
                  </a:cubicBezTo>
                  <a:cubicBezTo>
                    <a:pt x="0" y="290"/>
                    <a:pt x="0" y="259"/>
                    <a:pt x="19" y="239"/>
                  </a:cubicBezTo>
                  <a:cubicBezTo>
                    <a:pt x="34" y="224"/>
                    <a:pt x="57" y="221"/>
                    <a:pt x="75" y="230"/>
                  </a:cubicBezTo>
                  <a:cubicBezTo>
                    <a:pt x="184" y="121"/>
                    <a:pt x="184" y="121"/>
                    <a:pt x="184" y="121"/>
                  </a:cubicBezTo>
                  <a:cubicBezTo>
                    <a:pt x="180" y="84"/>
                    <a:pt x="180" y="84"/>
                    <a:pt x="180" y="84"/>
                  </a:cubicBezTo>
                  <a:cubicBezTo>
                    <a:pt x="179" y="78"/>
                    <a:pt x="182" y="71"/>
                    <a:pt x="186" y="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sp>
          <p:nvSpPr>
            <p:cNvPr id="81" name="Freeform 80"/>
            <p:cNvSpPr>
              <a:spLocks/>
            </p:cNvSpPr>
            <p:nvPr/>
          </p:nvSpPr>
          <p:spPr bwMode="auto">
            <a:xfrm>
              <a:off x="1292225" y="3860800"/>
              <a:ext cx="261938" cy="261938"/>
            </a:xfrm>
            <a:custGeom>
              <a:avLst/>
              <a:gdLst>
                <a:gd name="T0" fmla="*/ 170 w 340"/>
                <a:gd name="T1" fmla="*/ 73 h 340"/>
                <a:gd name="T2" fmla="*/ 212 w 340"/>
                <a:gd name="T3" fmla="*/ 83 h 340"/>
                <a:gd name="T4" fmla="*/ 266 w 340"/>
                <a:gd name="T5" fmla="*/ 30 h 340"/>
                <a:gd name="T6" fmla="*/ 170 w 340"/>
                <a:gd name="T7" fmla="*/ 0 h 340"/>
                <a:gd name="T8" fmla="*/ 0 w 340"/>
                <a:gd name="T9" fmla="*/ 170 h 340"/>
                <a:gd name="T10" fmla="*/ 170 w 340"/>
                <a:gd name="T11" fmla="*/ 340 h 340"/>
                <a:gd name="T12" fmla="*/ 340 w 340"/>
                <a:gd name="T13" fmla="*/ 170 h 340"/>
                <a:gd name="T14" fmla="*/ 311 w 340"/>
                <a:gd name="T15" fmla="*/ 76 h 340"/>
                <a:gd name="T16" fmla="*/ 258 w 340"/>
                <a:gd name="T17" fmla="*/ 130 h 340"/>
                <a:gd name="T18" fmla="*/ 267 w 340"/>
                <a:gd name="T19" fmla="*/ 170 h 340"/>
                <a:gd name="T20" fmla="*/ 170 w 340"/>
                <a:gd name="T21" fmla="*/ 267 h 340"/>
                <a:gd name="T22" fmla="*/ 73 w 340"/>
                <a:gd name="T23" fmla="*/ 170 h 340"/>
                <a:gd name="T24" fmla="*/ 170 w 340"/>
                <a:gd name="T25" fmla="*/ 7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40">
                  <a:moveTo>
                    <a:pt x="170" y="73"/>
                  </a:moveTo>
                  <a:cubicBezTo>
                    <a:pt x="185" y="73"/>
                    <a:pt x="199" y="77"/>
                    <a:pt x="212" y="83"/>
                  </a:cubicBezTo>
                  <a:cubicBezTo>
                    <a:pt x="266" y="30"/>
                    <a:pt x="266" y="30"/>
                    <a:pt x="266" y="30"/>
                  </a:cubicBezTo>
                  <a:cubicBezTo>
                    <a:pt x="238" y="11"/>
                    <a:pt x="205" y="0"/>
                    <a:pt x="170" y="0"/>
                  </a:cubicBezTo>
                  <a:cubicBezTo>
                    <a:pt x="76" y="0"/>
                    <a:pt x="0" y="76"/>
                    <a:pt x="0" y="170"/>
                  </a:cubicBezTo>
                  <a:cubicBezTo>
                    <a:pt x="0" y="264"/>
                    <a:pt x="76" y="340"/>
                    <a:pt x="170" y="340"/>
                  </a:cubicBezTo>
                  <a:cubicBezTo>
                    <a:pt x="264" y="340"/>
                    <a:pt x="340" y="264"/>
                    <a:pt x="340" y="170"/>
                  </a:cubicBezTo>
                  <a:cubicBezTo>
                    <a:pt x="340" y="135"/>
                    <a:pt x="329" y="103"/>
                    <a:pt x="311" y="76"/>
                  </a:cubicBezTo>
                  <a:cubicBezTo>
                    <a:pt x="258" y="130"/>
                    <a:pt x="258" y="130"/>
                    <a:pt x="258" y="130"/>
                  </a:cubicBezTo>
                  <a:cubicBezTo>
                    <a:pt x="264" y="142"/>
                    <a:pt x="267" y="156"/>
                    <a:pt x="267" y="170"/>
                  </a:cubicBezTo>
                  <a:cubicBezTo>
                    <a:pt x="267" y="223"/>
                    <a:pt x="223" y="267"/>
                    <a:pt x="170" y="267"/>
                  </a:cubicBezTo>
                  <a:cubicBezTo>
                    <a:pt x="117" y="267"/>
                    <a:pt x="73" y="223"/>
                    <a:pt x="73" y="170"/>
                  </a:cubicBezTo>
                  <a:cubicBezTo>
                    <a:pt x="73" y="117"/>
                    <a:pt x="117" y="73"/>
                    <a:pt x="170"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1"/>
                </a:solidFill>
              </a:endParaRPr>
            </a:p>
          </p:txBody>
        </p:sp>
      </p:grpSp>
      <p:sp>
        <p:nvSpPr>
          <p:cNvPr id="85" name="Rounded Rectangle 84"/>
          <p:cNvSpPr/>
          <p:nvPr/>
        </p:nvSpPr>
        <p:spPr>
          <a:xfrm>
            <a:off x="6118646" y="5426452"/>
            <a:ext cx="626222" cy="626222"/>
          </a:xfrm>
          <a:prstGeom prst="roundRect">
            <a:avLst/>
          </a:prstGeom>
          <a:solidFill>
            <a:srgbClr val="2D83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86" name="Group 85"/>
          <p:cNvGrpSpPr/>
          <p:nvPr/>
        </p:nvGrpSpPr>
        <p:grpSpPr>
          <a:xfrm>
            <a:off x="6203157" y="5510963"/>
            <a:ext cx="457200" cy="457200"/>
            <a:chOff x="8085931" y="2732484"/>
            <a:chExt cx="457200" cy="457200"/>
          </a:xfrm>
          <a:solidFill>
            <a:schemeClr val="bg1"/>
          </a:solidFill>
        </p:grpSpPr>
        <p:sp>
          <p:nvSpPr>
            <p:cNvPr id="87" name="Freeform 53"/>
            <p:cNvSpPr>
              <a:spLocks noEditPoints="1"/>
            </p:cNvSpPr>
            <p:nvPr/>
          </p:nvSpPr>
          <p:spPr bwMode="auto">
            <a:xfrm>
              <a:off x="8085931" y="2732484"/>
              <a:ext cx="457200" cy="457200"/>
            </a:xfrm>
            <a:custGeom>
              <a:avLst/>
              <a:gdLst>
                <a:gd name="T0" fmla="*/ 342 w 1152"/>
                <a:gd name="T1" fmla="*/ 990 h 1152"/>
                <a:gd name="T2" fmla="*/ 207 w 1152"/>
                <a:gd name="T3" fmla="*/ 855 h 1152"/>
                <a:gd name="T4" fmla="*/ 72 w 1152"/>
                <a:gd name="T5" fmla="*/ 720 h 1152"/>
                <a:gd name="T6" fmla="*/ 110 w 1152"/>
                <a:gd name="T7" fmla="*/ 635 h 1152"/>
                <a:gd name="T8" fmla="*/ 161 w 1152"/>
                <a:gd name="T9" fmla="*/ 565 h 1152"/>
                <a:gd name="T10" fmla="*/ 224 w 1152"/>
                <a:gd name="T11" fmla="*/ 507 h 1152"/>
                <a:gd name="T12" fmla="*/ 295 w 1152"/>
                <a:gd name="T13" fmla="*/ 456 h 1152"/>
                <a:gd name="T14" fmla="*/ 447 w 1152"/>
                <a:gd name="T15" fmla="*/ 365 h 1152"/>
                <a:gd name="T16" fmla="*/ 545 w 1152"/>
                <a:gd name="T17" fmla="*/ 302 h 1152"/>
                <a:gd name="T18" fmla="*/ 611 w 1152"/>
                <a:gd name="T19" fmla="*/ 247 h 1152"/>
                <a:gd name="T20" fmla="*/ 667 w 1152"/>
                <a:gd name="T21" fmla="*/ 181 h 1152"/>
                <a:gd name="T22" fmla="*/ 709 w 1152"/>
                <a:gd name="T23" fmla="*/ 102 h 1152"/>
                <a:gd name="T24" fmla="*/ 809 w 1152"/>
                <a:gd name="T25" fmla="*/ 161 h 1152"/>
                <a:gd name="T26" fmla="*/ 946 w 1152"/>
                <a:gd name="T27" fmla="*/ 297 h 1152"/>
                <a:gd name="T28" fmla="*/ 1081 w 1152"/>
                <a:gd name="T29" fmla="*/ 431 h 1152"/>
                <a:gd name="T30" fmla="*/ 1043 w 1152"/>
                <a:gd name="T31" fmla="*/ 517 h 1152"/>
                <a:gd name="T32" fmla="*/ 991 w 1152"/>
                <a:gd name="T33" fmla="*/ 586 h 1152"/>
                <a:gd name="T34" fmla="*/ 928 w 1152"/>
                <a:gd name="T35" fmla="*/ 644 h 1152"/>
                <a:gd name="T36" fmla="*/ 857 w 1152"/>
                <a:gd name="T37" fmla="*/ 695 h 1152"/>
                <a:gd name="T38" fmla="*/ 705 w 1152"/>
                <a:gd name="T39" fmla="*/ 786 h 1152"/>
                <a:gd name="T40" fmla="*/ 607 w 1152"/>
                <a:gd name="T41" fmla="*/ 849 h 1152"/>
                <a:gd name="T42" fmla="*/ 541 w 1152"/>
                <a:gd name="T43" fmla="*/ 904 h 1152"/>
                <a:gd name="T44" fmla="*/ 485 w 1152"/>
                <a:gd name="T45" fmla="*/ 970 h 1152"/>
                <a:gd name="T46" fmla="*/ 442 w 1152"/>
                <a:gd name="T47" fmla="*/ 1050 h 1152"/>
                <a:gd name="T48" fmla="*/ 1131 w 1152"/>
                <a:gd name="T49" fmla="*/ 381 h 1152"/>
                <a:gd name="T50" fmla="*/ 757 w 1152"/>
                <a:gd name="T51" fmla="*/ 10 h 1152"/>
                <a:gd name="T52" fmla="*/ 731 w 1152"/>
                <a:gd name="T53" fmla="*/ 0 h 1152"/>
                <a:gd name="T54" fmla="*/ 703 w 1152"/>
                <a:gd name="T55" fmla="*/ 1 h 1152"/>
                <a:gd name="T56" fmla="*/ 677 w 1152"/>
                <a:gd name="T57" fmla="*/ 14 h 1152"/>
                <a:gd name="T58" fmla="*/ 658 w 1152"/>
                <a:gd name="T59" fmla="*/ 35 h 1152"/>
                <a:gd name="T60" fmla="*/ 644 w 1152"/>
                <a:gd name="T61" fmla="*/ 69 h 1152"/>
                <a:gd name="T62" fmla="*/ 617 w 1152"/>
                <a:gd name="T63" fmla="*/ 125 h 1152"/>
                <a:gd name="T64" fmla="*/ 580 w 1152"/>
                <a:gd name="T65" fmla="*/ 175 h 1152"/>
                <a:gd name="T66" fmla="*/ 520 w 1152"/>
                <a:gd name="T67" fmla="*/ 230 h 1152"/>
                <a:gd name="T68" fmla="*/ 443 w 1152"/>
                <a:gd name="T69" fmla="*/ 283 h 1152"/>
                <a:gd name="T70" fmla="*/ 360 w 1152"/>
                <a:gd name="T71" fmla="*/ 333 h 1152"/>
                <a:gd name="T72" fmla="*/ 268 w 1152"/>
                <a:gd name="T73" fmla="*/ 388 h 1152"/>
                <a:gd name="T74" fmla="*/ 180 w 1152"/>
                <a:gd name="T75" fmla="*/ 451 h 1152"/>
                <a:gd name="T76" fmla="*/ 104 w 1152"/>
                <a:gd name="T77" fmla="*/ 521 h 1152"/>
                <a:gd name="T78" fmla="*/ 51 w 1152"/>
                <a:gd name="T79" fmla="*/ 592 h 1152"/>
                <a:gd name="T80" fmla="*/ 12 w 1152"/>
                <a:gd name="T81" fmla="*/ 671 h 1152"/>
                <a:gd name="T82" fmla="*/ 0 w 1152"/>
                <a:gd name="T83" fmla="*/ 717 h 1152"/>
                <a:gd name="T84" fmla="*/ 5 w 1152"/>
                <a:gd name="T85" fmla="*/ 747 h 1152"/>
                <a:gd name="T86" fmla="*/ 21 w 1152"/>
                <a:gd name="T87" fmla="*/ 770 h 1152"/>
                <a:gd name="T88" fmla="*/ 396 w 1152"/>
                <a:gd name="T89" fmla="*/ 1142 h 1152"/>
                <a:gd name="T90" fmla="*/ 422 w 1152"/>
                <a:gd name="T91" fmla="*/ 1151 h 1152"/>
                <a:gd name="T92" fmla="*/ 450 w 1152"/>
                <a:gd name="T93" fmla="*/ 1149 h 1152"/>
                <a:gd name="T94" fmla="*/ 476 w 1152"/>
                <a:gd name="T95" fmla="*/ 1137 h 1152"/>
                <a:gd name="T96" fmla="*/ 494 w 1152"/>
                <a:gd name="T97" fmla="*/ 1117 h 1152"/>
                <a:gd name="T98" fmla="*/ 507 w 1152"/>
                <a:gd name="T99" fmla="*/ 1081 h 1152"/>
                <a:gd name="T100" fmla="*/ 534 w 1152"/>
                <a:gd name="T101" fmla="*/ 1026 h 1152"/>
                <a:gd name="T102" fmla="*/ 572 w 1152"/>
                <a:gd name="T103" fmla="*/ 977 h 1152"/>
                <a:gd name="T104" fmla="*/ 632 w 1152"/>
                <a:gd name="T105" fmla="*/ 921 h 1152"/>
                <a:gd name="T106" fmla="*/ 708 w 1152"/>
                <a:gd name="T107" fmla="*/ 868 h 1152"/>
                <a:gd name="T108" fmla="*/ 792 w 1152"/>
                <a:gd name="T109" fmla="*/ 818 h 1152"/>
                <a:gd name="T110" fmla="*/ 884 w 1152"/>
                <a:gd name="T111" fmla="*/ 763 h 1152"/>
                <a:gd name="T112" fmla="*/ 973 w 1152"/>
                <a:gd name="T113" fmla="*/ 701 h 1152"/>
                <a:gd name="T114" fmla="*/ 1048 w 1152"/>
                <a:gd name="T115" fmla="*/ 631 h 1152"/>
                <a:gd name="T116" fmla="*/ 1101 w 1152"/>
                <a:gd name="T117" fmla="*/ 560 h 1152"/>
                <a:gd name="T118" fmla="*/ 1139 w 1152"/>
                <a:gd name="T119" fmla="*/ 481 h 1152"/>
                <a:gd name="T120" fmla="*/ 1152 w 1152"/>
                <a:gd name="T121" fmla="*/ 433 h 1152"/>
                <a:gd name="T122" fmla="*/ 1146 w 1152"/>
                <a:gd name="T123" fmla="*/ 405 h 1152"/>
                <a:gd name="T124" fmla="*/ 1131 w 1152"/>
                <a:gd name="T125" fmla="*/ 381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2" h="1152">
                  <a:moveTo>
                    <a:pt x="433" y="1079"/>
                  </a:moveTo>
                  <a:lnTo>
                    <a:pt x="387" y="1035"/>
                  </a:lnTo>
                  <a:lnTo>
                    <a:pt x="342" y="990"/>
                  </a:lnTo>
                  <a:lnTo>
                    <a:pt x="297" y="945"/>
                  </a:lnTo>
                  <a:lnTo>
                    <a:pt x="252" y="900"/>
                  </a:lnTo>
                  <a:lnTo>
                    <a:pt x="207" y="855"/>
                  </a:lnTo>
                  <a:lnTo>
                    <a:pt x="161" y="809"/>
                  </a:lnTo>
                  <a:lnTo>
                    <a:pt x="117" y="765"/>
                  </a:lnTo>
                  <a:lnTo>
                    <a:pt x="72" y="720"/>
                  </a:lnTo>
                  <a:lnTo>
                    <a:pt x="83" y="689"/>
                  </a:lnTo>
                  <a:lnTo>
                    <a:pt x="96" y="661"/>
                  </a:lnTo>
                  <a:lnTo>
                    <a:pt x="110" y="635"/>
                  </a:lnTo>
                  <a:lnTo>
                    <a:pt x="125" y="611"/>
                  </a:lnTo>
                  <a:lnTo>
                    <a:pt x="142" y="587"/>
                  </a:lnTo>
                  <a:lnTo>
                    <a:pt x="161" y="565"/>
                  </a:lnTo>
                  <a:lnTo>
                    <a:pt x="181" y="545"/>
                  </a:lnTo>
                  <a:lnTo>
                    <a:pt x="202" y="525"/>
                  </a:lnTo>
                  <a:lnTo>
                    <a:pt x="224" y="507"/>
                  </a:lnTo>
                  <a:lnTo>
                    <a:pt x="247" y="490"/>
                  </a:lnTo>
                  <a:lnTo>
                    <a:pt x="270" y="472"/>
                  </a:lnTo>
                  <a:lnTo>
                    <a:pt x="295" y="456"/>
                  </a:lnTo>
                  <a:lnTo>
                    <a:pt x="345" y="426"/>
                  </a:lnTo>
                  <a:lnTo>
                    <a:pt x="396" y="396"/>
                  </a:lnTo>
                  <a:lnTo>
                    <a:pt x="447" y="365"/>
                  </a:lnTo>
                  <a:lnTo>
                    <a:pt x="497" y="335"/>
                  </a:lnTo>
                  <a:lnTo>
                    <a:pt x="521" y="319"/>
                  </a:lnTo>
                  <a:lnTo>
                    <a:pt x="545" y="302"/>
                  </a:lnTo>
                  <a:lnTo>
                    <a:pt x="568" y="284"/>
                  </a:lnTo>
                  <a:lnTo>
                    <a:pt x="590" y="266"/>
                  </a:lnTo>
                  <a:lnTo>
                    <a:pt x="611" y="247"/>
                  </a:lnTo>
                  <a:lnTo>
                    <a:pt x="631" y="226"/>
                  </a:lnTo>
                  <a:lnTo>
                    <a:pt x="650" y="204"/>
                  </a:lnTo>
                  <a:lnTo>
                    <a:pt x="667" y="181"/>
                  </a:lnTo>
                  <a:lnTo>
                    <a:pt x="683" y="156"/>
                  </a:lnTo>
                  <a:lnTo>
                    <a:pt x="697" y="130"/>
                  </a:lnTo>
                  <a:lnTo>
                    <a:pt x="709" y="102"/>
                  </a:lnTo>
                  <a:lnTo>
                    <a:pt x="720" y="72"/>
                  </a:lnTo>
                  <a:lnTo>
                    <a:pt x="765" y="117"/>
                  </a:lnTo>
                  <a:lnTo>
                    <a:pt x="809" y="161"/>
                  </a:lnTo>
                  <a:lnTo>
                    <a:pt x="855" y="207"/>
                  </a:lnTo>
                  <a:lnTo>
                    <a:pt x="900" y="252"/>
                  </a:lnTo>
                  <a:lnTo>
                    <a:pt x="946" y="297"/>
                  </a:lnTo>
                  <a:lnTo>
                    <a:pt x="990" y="342"/>
                  </a:lnTo>
                  <a:lnTo>
                    <a:pt x="1035" y="387"/>
                  </a:lnTo>
                  <a:lnTo>
                    <a:pt x="1081" y="431"/>
                  </a:lnTo>
                  <a:lnTo>
                    <a:pt x="1070" y="462"/>
                  </a:lnTo>
                  <a:lnTo>
                    <a:pt x="1057" y="490"/>
                  </a:lnTo>
                  <a:lnTo>
                    <a:pt x="1043" y="517"/>
                  </a:lnTo>
                  <a:lnTo>
                    <a:pt x="1027" y="541"/>
                  </a:lnTo>
                  <a:lnTo>
                    <a:pt x="1009" y="564"/>
                  </a:lnTo>
                  <a:lnTo>
                    <a:pt x="991" y="586"/>
                  </a:lnTo>
                  <a:lnTo>
                    <a:pt x="971" y="606"/>
                  </a:lnTo>
                  <a:lnTo>
                    <a:pt x="950" y="626"/>
                  </a:lnTo>
                  <a:lnTo>
                    <a:pt x="928" y="644"/>
                  </a:lnTo>
                  <a:lnTo>
                    <a:pt x="904" y="662"/>
                  </a:lnTo>
                  <a:lnTo>
                    <a:pt x="882" y="679"/>
                  </a:lnTo>
                  <a:lnTo>
                    <a:pt x="857" y="695"/>
                  </a:lnTo>
                  <a:lnTo>
                    <a:pt x="807" y="726"/>
                  </a:lnTo>
                  <a:lnTo>
                    <a:pt x="757" y="755"/>
                  </a:lnTo>
                  <a:lnTo>
                    <a:pt x="705" y="786"/>
                  </a:lnTo>
                  <a:lnTo>
                    <a:pt x="655" y="817"/>
                  </a:lnTo>
                  <a:lnTo>
                    <a:pt x="631" y="833"/>
                  </a:lnTo>
                  <a:lnTo>
                    <a:pt x="607" y="849"/>
                  </a:lnTo>
                  <a:lnTo>
                    <a:pt x="584" y="867"/>
                  </a:lnTo>
                  <a:lnTo>
                    <a:pt x="562" y="885"/>
                  </a:lnTo>
                  <a:lnTo>
                    <a:pt x="541" y="904"/>
                  </a:lnTo>
                  <a:lnTo>
                    <a:pt x="521" y="925"/>
                  </a:lnTo>
                  <a:lnTo>
                    <a:pt x="503" y="948"/>
                  </a:lnTo>
                  <a:lnTo>
                    <a:pt x="485" y="970"/>
                  </a:lnTo>
                  <a:lnTo>
                    <a:pt x="469" y="995"/>
                  </a:lnTo>
                  <a:lnTo>
                    <a:pt x="455" y="1022"/>
                  </a:lnTo>
                  <a:lnTo>
                    <a:pt x="442" y="1050"/>
                  </a:lnTo>
                  <a:lnTo>
                    <a:pt x="433" y="1079"/>
                  </a:lnTo>
                  <a:lnTo>
                    <a:pt x="433" y="1079"/>
                  </a:lnTo>
                  <a:close/>
                  <a:moveTo>
                    <a:pt x="1131" y="381"/>
                  </a:moveTo>
                  <a:lnTo>
                    <a:pt x="771" y="21"/>
                  </a:lnTo>
                  <a:lnTo>
                    <a:pt x="764" y="14"/>
                  </a:lnTo>
                  <a:lnTo>
                    <a:pt x="757" y="10"/>
                  </a:lnTo>
                  <a:lnTo>
                    <a:pt x="748" y="6"/>
                  </a:lnTo>
                  <a:lnTo>
                    <a:pt x="739" y="3"/>
                  </a:lnTo>
                  <a:lnTo>
                    <a:pt x="731" y="0"/>
                  </a:lnTo>
                  <a:lnTo>
                    <a:pt x="721" y="0"/>
                  </a:lnTo>
                  <a:lnTo>
                    <a:pt x="712" y="0"/>
                  </a:lnTo>
                  <a:lnTo>
                    <a:pt x="703" y="1"/>
                  </a:lnTo>
                  <a:lnTo>
                    <a:pt x="693" y="5"/>
                  </a:lnTo>
                  <a:lnTo>
                    <a:pt x="684" y="9"/>
                  </a:lnTo>
                  <a:lnTo>
                    <a:pt x="677" y="14"/>
                  </a:lnTo>
                  <a:lnTo>
                    <a:pt x="669" y="21"/>
                  </a:lnTo>
                  <a:lnTo>
                    <a:pt x="664" y="27"/>
                  </a:lnTo>
                  <a:lnTo>
                    <a:pt x="658" y="35"/>
                  </a:lnTo>
                  <a:lnTo>
                    <a:pt x="654" y="42"/>
                  </a:lnTo>
                  <a:lnTo>
                    <a:pt x="651" y="50"/>
                  </a:lnTo>
                  <a:lnTo>
                    <a:pt x="644" y="69"/>
                  </a:lnTo>
                  <a:lnTo>
                    <a:pt x="637" y="89"/>
                  </a:lnTo>
                  <a:lnTo>
                    <a:pt x="628" y="107"/>
                  </a:lnTo>
                  <a:lnTo>
                    <a:pt x="617" y="125"/>
                  </a:lnTo>
                  <a:lnTo>
                    <a:pt x="606" y="142"/>
                  </a:lnTo>
                  <a:lnTo>
                    <a:pt x="593" y="159"/>
                  </a:lnTo>
                  <a:lnTo>
                    <a:pt x="580" y="175"/>
                  </a:lnTo>
                  <a:lnTo>
                    <a:pt x="565" y="192"/>
                  </a:lnTo>
                  <a:lnTo>
                    <a:pt x="544" y="211"/>
                  </a:lnTo>
                  <a:lnTo>
                    <a:pt x="520" y="230"/>
                  </a:lnTo>
                  <a:lnTo>
                    <a:pt x="496" y="249"/>
                  </a:lnTo>
                  <a:lnTo>
                    <a:pt x="470" y="266"/>
                  </a:lnTo>
                  <a:lnTo>
                    <a:pt x="443" y="283"/>
                  </a:lnTo>
                  <a:lnTo>
                    <a:pt x="416" y="301"/>
                  </a:lnTo>
                  <a:lnTo>
                    <a:pt x="388" y="317"/>
                  </a:lnTo>
                  <a:lnTo>
                    <a:pt x="360" y="333"/>
                  </a:lnTo>
                  <a:lnTo>
                    <a:pt x="329" y="351"/>
                  </a:lnTo>
                  <a:lnTo>
                    <a:pt x="299" y="370"/>
                  </a:lnTo>
                  <a:lnTo>
                    <a:pt x="268" y="388"/>
                  </a:lnTo>
                  <a:lnTo>
                    <a:pt x="238" y="408"/>
                  </a:lnTo>
                  <a:lnTo>
                    <a:pt x="208" y="428"/>
                  </a:lnTo>
                  <a:lnTo>
                    <a:pt x="180" y="451"/>
                  </a:lnTo>
                  <a:lnTo>
                    <a:pt x="152" y="473"/>
                  </a:lnTo>
                  <a:lnTo>
                    <a:pt x="125" y="498"/>
                  </a:lnTo>
                  <a:lnTo>
                    <a:pt x="104" y="521"/>
                  </a:lnTo>
                  <a:lnTo>
                    <a:pt x="85" y="544"/>
                  </a:lnTo>
                  <a:lnTo>
                    <a:pt x="67" y="567"/>
                  </a:lnTo>
                  <a:lnTo>
                    <a:pt x="51" y="592"/>
                  </a:lnTo>
                  <a:lnTo>
                    <a:pt x="36" y="617"/>
                  </a:lnTo>
                  <a:lnTo>
                    <a:pt x="24" y="644"/>
                  </a:lnTo>
                  <a:lnTo>
                    <a:pt x="12" y="671"/>
                  </a:lnTo>
                  <a:lnTo>
                    <a:pt x="3" y="698"/>
                  </a:lnTo>
                  <a:lnTo>
                    <a:pt x="0" y="708"/>
                  </a:lnTo>
                  <a:lnTo>
                    <a:pt x="0" y="717"/>
                  </a:lnTo>
                  <a:lnTo>
                    <a:pt x="0" y="727"/>
                  </a:lnTo>
                  <a:lnTo>
                    <a:pt x="3" y="737"/>
                  </a:lnTo>
                  <a:lnTo>
                    <a:pt x="5" y="747"/>
                  </a:lnTo>
                  <a:lnTo>
                    <a:pt x="9" y="755"/>
                  </a:lnTo>
                  <a:lnTo>
                    <a:pt x="15" y="763"/>
                  </a:lnTo>
                  <a:lnTo>
                    <a:pt x="21" y="770"/>
                  </a:lnTo>
                  <a:lnTo>
                    <a:pt x="381" y="1131"/>
                  </a:lnTo>
                  <a:lnTo>
                    <a:pt x="388" y="1137"/>
                  </a:lnTo>
                  <a:lnTo>
                    <a:pt x="396" y="1142"/>
                  </a:lnTo>
                  <a:lnTo>
                    <a:pt x="404" y="1146"/>
                  </a:lnTo>
                  <a:lnTo>
                    <a:pt x="413" y="1149"/>
                  </a:lnTo>
                  <a:lnTo>
                    <a:pt x="422" y="1151"/>
                  </a:lnTo>
                  <a:lnTo>
                    <a:pt x="430" y="1152"/>
                  </a:lnTo>
                  <a:lnTo>
                    <a:pt x="440" y="1152"/>
                  </a:lnTo>
                  <a:lnTo>
                    <a:pt x="450" y="1149"/>
                  </a:lnTo>
                  <a:lnTo>
                    <a:pt x="458" y="1146"/>
                  </a:lnTo>
                  <a:lnTo>
                    <a:pt x="467" y="1142"/>
                  </a:lnTo>
                  <a:lnTo>
                    <a:pt x="476" y="1137"/>
                  </a:lnTo>
                  <a:lnTo>
                    <a:pt x="483" y="1131"/>
                  </a:lnTo>
                  <a:lnTo>
                    <a:pt x="489" y="1125"/>
                  </a:lnTo>
                  <a:lnTo>
                    <a:pt x="494" y="1117"/>
                  </a:lnTo>
                  <a:lnTo>
                    <a:pt x="497" y="1110"/>
                  </a:lnTo>
                  <a:lnTo>
                    <a:pt x="501" y="1101"/>
                  </a:lnTo>
                  <a:lnTo>
                    <a:pt x="507" y="1081"/>
                  </a:lnTo>
                  <a:lnTo>
                    <a:pt x="516" y="1063"/>
                  </a:lnTo>
                  <a:lnTo>
                    <a:pt x="524" y="1045"/>
                  </a:lnTo>
                  <a:lnTo>
                    <a:pt x="534" y="1026"/>
                  </a:lnTo>
                  <a:lnTo>
                    <a:pt x="546" y="1009"/>
                  </a:lnTo>
                  <a:lnTo>
                    <a:pt x="558" y="993"/>
                  </a:lnTo>
                  <a:lnTo>
                    <a:pt x="572" y="977"/>
                  </a:lnTo>
                  <a:lnTo>
                    <a:pt x="587" y="960"/>
                  </a:lnTo>
                  <a:lnTo>
                    <a:pt x="609" y="940"/>
                  </a:lnTo>
                  <a:lnTo>
                    <a:pt x="632" y="921"/>
                  </a:lnTo>
                  <a:lnTo>
                    <a:pt x="656" y="903"/>
                  </a:lnTo>
                  <a:lnTo>
                    <a:pt x="682" y="885"/>
                  </a:lnTo>
                  <a:lnTo>
                    <a:pt x="708" y="868"/>
                  </a:lnTo>
                  <a:lnTo>
                    <a:pt x="736" y="851"/>
                  </a:lnTo>
                  <a:lnTo>
                    <a:pt x="764" y="835"/>
                  </a:lnTo>
                  <a:lnTo>
                    <a:pt x="792" y="818"/>
                  </a:lnTo>
                  <a:lnTo>
                    <a:pt x="822" y="801"/>
                  </a:lnTo>
                  <a:lnTo>
                    <a:pt x="854" y="782"/>
                  </a:lnTo>
                  <a:lnTo>
                    <a:pt x="884" y="763"/>
                  </a:lnTo>
                  <a:lnTo>
                    <a:pt x="914" y="743"/>
                  </a:lnTo>
                  <a:lnTo>
                    <a:pt x="943" y="723"/>
                  </a:lnTo>
                  <a:lnTo>
                    <a:pt x="973" y="701"/>
                  </a:lnTo>
                  <a:lnTo>
                    <a:pt x="1001" y="678"/>
                  </a:lnTo>
                  <a:lnTo>
                    <a:pt x="1027" y="653"/>
                  </a:lnTo>
                  <a:lnTo>
                    <a:pt x="1048" y="631"/>
                  </a:lnTo>
                  <a:lnTo>
                    <a:pt x="1068" y="607"/>
                  </a:lnTo>
                  <a:lnTo>
                    <a:pt x="1085" y="584"/>
                  </a:lnTo>
                  <a:lnTo>
                    <a:pt x="1101" y="560"/>
                  </a:lnTo>
                  <a:lnTo>
                    <a:pt x="1115" y="534"/>
                  </a:lnTo>
                  <a:lnTo>
                    <a:pt x="1128" y="508"/>
                  </a:lnTo>
                  <a:lnTo>
                    <a:pt x="1139" y="481"/>
                  </a:lnTo>
                  <a:lnTo>
                    <a:pt x="1149" y="453"/>
                  </a:lnTo>
                  <a:lnTo>
                    <a:pt x="1151" y="443"/>
                  </a:lnTo>
                  <a:lnTo>
                    <a:pt x="1152" y="433"/>
                  </a:lnTo>
                  <a:lnTo>
                    <a:pt x="1152" y="424"/>
                  </a:lnTo>
                  <a:lnTo>
                    <a:pt x="1150" y="414"/>
                  </a:lnTo>
                  <a:lnTo>
                    <a:pt x="1146" y="405"/>
                  </a:lnTo>
                  <a:lnTo>
                    <a:pt x="1143" y="397"/>
                  </a:lnTo>
                  <a:lnTo>
                    <a:pt x="1138" y="388"/>
                  </a:lnTo>
                  <a:lnTo>
                    <a:pt x="1131" y="3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54"/>
            <p:cNvSpPr>
              <a:spLocks noEditPoints="1"/>
            </p:cNvSpPr>
            <p:nvPr/>
          </p:nvSpPr>
          <p:spPr bwMode="auto">
            <a:xfrm>
              <a:off x="8252619" y="2894409"/>
              <a:ext cx="123825" cy="128588"/>
            </a:xfrm>
            <a:custGeom>
              <a:avLst/>
              <a:gdLst>
                <a:gd name="T0" fmla="*/ 228 w 313"/>
                <a:gd name="T1" fmla="*/ 225 h 322"/>
                <a:gd name="T2" fmla="*/ 191 w 313"/>
                <a:gd name="T3" fmla="*/ 171 h 322"/>
                <a:gd name="T4" fmla="*/ 226 w 313"/>
                <a:gd name="T5" fmla="*/ 163 h 322"/>
                <a:gd name="T6" fmla="*/ 247 w 313"/>
                <a:gd name="T7" fmla="*/ 170 h 322"/>
                <a:gd name="T8" fmla="*/ 260 w 313"/>
                <a:gd name="T9" fmla="*/ 185 h 322"/>
                <a:gd name="T10" fmla="*/ 259 w 313"/>
                <a:gd name="T11" fmla="*/ 216 h 322"/>
                <a:gd name="T12" fmla="*/ 77 w 313"/>
                <a:gd name="T13" fmla="*/ 152 h 322"/>
                <a:gd name="T14" fmla="*/ 53 w 313"/>
                <a:gd name="T15" fmla="*/ 137 h 322"/>
                <a:gd name="T16" fmla="*/ 51 w 313"/>
                <a:gd name="T17" fmla="*/ 108 h 322"/>
                <a:gd name="T18" fmla="*/ 80 w 313"/>
                <a:gd name="T19" fmla="*/ 96 h 322"/>
                <a:gd name="T20" fmla="*/ 111 w 313"/>
                <a:gd name="T21" fmla="*/ 145 h 322"/>
                <a:gd name="T22" fmla="*/ 287 w 313"/>
                <a:gd name="T23" fmla="*/ 128 h 322"/>
                <a:gd name="T24" fmla="*/ 251 w 313"/>
                <a:gd name="T25" fmla="*/ 109 h 322"/>
                <a:gd name="T26" fmla="*/ 215 w 313"/>
                <a:gd name="T27" fmla="*/ 104 h 322"/>
                <a:gd name="T28" fmla="*/ 179 w 313"/>
                <a:gd name="T29" fmla="*/ 113 h 322"/>
                <a:gd name="T30" fmla="*/ 143 w 313"/>
                <a:gd name="T31" fmla="*/ 128 h 322"/>
                <a:gd name="T32" fmla="*/ 85 w 313"/>
                <a:gd name="T33" fmla="*/ 64 h 322"/>
                <a:gd name="T34" fmla="*/ 110 w 313"/>
                <a:gd name="T35" fmla="*/ 51 h 322"/>
                <a:gd name="T36" fmla="*/ 155 w 313"/>
                <a:gd name="T37" fmla="*/ 59 h 322"/>
                <a:gd name="T38" fmla="*/ 171 w 313"/>
                <a:gd name="T39" fmla="*/ 55 h 322"/>
                <a:gd name="T40" fmla="*/ 180 w 313"/>
                <a:gd name="T41" fmla="*/ 37 h 322"/>
                <a:gd name="T42" fmla="*/ 172 w 313"/>
                <a:gd name="T43" fmla="*/ 17 h 322"/>
                <a:gd name="T44" fmla="*/ 144 w 313"/>
                <a:gd name="T45" fmla="*/ 1 h 322"/>
                <a:gd name="T46" fmla="*/ 111 w 313"/>
                <a:gd name="T47" fmla="*/ 2 h 322"/>
                <a:gd name="T48" fmla="*/ 78 w 313"/>
                <a:gd name="T49" fmla="*/ 15 h 322"/>
                <a:gd name="T50" fmla="*/ 47 w 313"/>
                <a:gd name="T51" fmla="*/ 27 h 322"/>
                <a:gd name="T52" fmla="*/ 32 w 313"/>
                <a:gd name="T53" fmla="*/ 23 h 322"/>
                <a:gd name="T54" fmla="*/ 24 w 313"/>
                <a:gd name="T55" fmla="*/ 32 h 322"/>
                <a:gd name="T56" fmla="*/ 29 w 313"/>
                <a:gd name="T57" fmla="*/ 47 h 322"/>
                <a:gd name="T58" fmla="*/ 22 w 313"/>
                <a:gd name="T59" fmla="*/ 70 h 322"/>
                <a:gd name="T60" fmla="*/ 5 w 313"/>
                <a:gd name="T61" fmla="*/ 109 h 322"/>
                <a:gd name="T62" fmla="*/ 2 w 313"/>
                <a:gd name="T63" fmla="*/ 145 h 322"/>
                <a:gd name="T64" fmla="*/ 13 w 313"/>
                <a:gd name="T65" fmla="*/ 177 h 322"/>
                <a:gd name="T66" fmla="*/ 39 w 313"/>
                <a:gd name="T67" fmla="*/ 199 h 322"/>
                <a:gd name="T68" fmla="*/ 70 w 313"/>
                <a:gd name="T69" fmla="*/ 209 h 322"/>
                <a:gd name="T70" fmla="*/ 123 w 313"/>
                <a:gd name="T71" fmla="*/ 203 h 322"/>
                <a:gd name="T72" fmla="*/ 193 w 313"/>
                <a:gd name="T73" fmla="*/ 223 h 322"/>
                <a:gd name="T74" fmla="*/ 212 w 313"/>
                <a:gd name="T75" fmla="*/ 267 h 322"/>
                <a:gd name="T76" fmla="*/ 192 w 313"/>
                <a:gd name="T77" fmla="*/ 273 h 322"/>
                <a:gd name="T78" fmla="*/ 167 w 313"/>
                <a:gd name="T79" fmla="*/ 264 h 322"/>
                <a:gd name="T80" fmla="*/ 139 w 313"/>
                <a:gd name="T81" fmla="*/ 251 h 322"/>
                <a:gd name="T82" fmla="*/ 123 w 313"/>
                <a:gd name="T83" fmla="*/ 259 h 322"/>
                <a:gd name="T84" fmla="*/ 114 w 313"/>
                <a:gd name="T85" fmla="*/ 277 h 322"/>
                <a:gd name="T86" fmla="*/ 123 w 313"/>
                <a:gd name="T87" fmla="*/ 298 h 322"/>
                <a:gd name="T88" fmla="*/ 146 w 313"/>
                <a:gd name="T89" fmla="*/ 315 h 322"/>
                <a:gd name="T90" fmla="*/ 179 w 313"/>
                <a:gd name="T91" fmla="*/ 322 h 322"/>
                <a:gd name="T92" fmla="*/ 216 w 313"/>
                <a:gd name="T93" fmla="*/ 317 h 322"/>
                <a:gd name="T94" fmla="*/ 256 w 313"/>
                <a:gd name="T95" fmla="*/ 290 h 322"/>
                <a:gd name="T96" fmla="*/ 286 w 313"/>
                <a:gd name="T97" fmla="*/ 311 h 322"/>
                <a:gd name="T98" fmla="*/ 294 w 313"/>
                <a:gd name="T99" fmla="*/ 305 h 322"/>
                <a:gd name="T100" fmla="*/ 299 w 313"/>
                <a:gd name="T101" fmla="*/ 295 h 322"/>
                <a:gd name="T102" fmla="*/ 275 w 313"/>
                <a:gd name="T103" fmla="*/ 271 h 322"/>
                <a:gd name="T104" fmla="*/ 301 w 313"/>
                <a:gd name="T105" fmla="*/ 230 h 322"/>
                <a:gd name="T106" fmla="*/ 312 w 313"/>
                <a:gd name="T107" fmla="*/ 190 h 322"/>
                <a:gd name="T108" fmla="*/ 307 w 313"/>
                <a:gd name="T109" fmla="*/ 156 h 322"/>
                <a:gd name="T110" fmla="*/ 287 w 313"/>
                <a:gd name="T111" fmla="*/ 12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322">
                  <a:moveTo>
                    <a:pt x="254" y="224"/>
                  </a:moveTo>
                  <a:lnTo>
                    <a:pt x="250" y="233"/>
                  </a:lnTo>
                  <a:lnTo>
                    <a:pt x="243" y="240"/>
                  </a:lnTo>
                  <a:lnTo>
                    <a:pt x="228" y="225"/>
                  </a:lnTo>
                  <a:lnTo>
                    <a:pt x="213" y="209"/>
                  </a:lnTo>
                  <a:lnTo>
                    <a:pt x="198" y="192"/>
                  </a:lnTo>
                  <a:lnTo>
                    <a:pt x="183" y="174"/>
                  </a:lnTo>
                  <a:lnTo>
                    <a:pt x="191" y="171"/>
                  </a:lnTo>
                  <a:lnTo>
                    <a:pt x="199" y="168"/>
                  </a:lnTo>
                  <a:lnTo>
                    <a:pt x="208" y="165"/>
                  </a:lnTo>
                  <a:lnTo>
                    <a:pt x="216" y="163"/>
                  </a:lnTo>
                  <a:lnTo>
                    <a:pt x="226" y="163"/>
                  </a:lnTo>
                  <a:lnTo>
                    <a:pt x="235" y="164"/>
                  </a:lnTo>
                  <a:lnTo>
                    <a:pt x="239" y="165"/>
                  </a:lnTo>
                  <a:lnTo>
                    <a:pt x="243" y="167"/>
                  </a:lnTo>
                  <a:lnTo>
                    <a:pt x="247" y="170"/>
                  </a:lnTo>
                  <a:lnTo>
                    <a:pt x="251" y="173"/>
                  </a:lnTo>
                  <a:lnTo>
                    <a:pt x="254" y="177"/>
                  </a:lnTo>
                  <a:lnTo>
                    <a:pt x="258" y="181"/>
                  </a:lnTo>
                  <a:lnTo>
                    <a:pt x="260" y="185"/>
                  </a:lnTo>
                  <a:lnTo>
                    <a:pt x="261" y="190"/>
                  </a:lnTo>
                  <a:lnTo>
                    <a:pt x="262" y="198"/>
                  </a:lnTo>
                  <a:lnTo>
                    <a:pt x="261" y="207"/>
                  </a:lnTo>
                  <a:lnTo>
                    <a:pt x="259" y="216"/>
                  </a:lnTo>
                  <a:lnTo>
                    <a:pt x="254" y="224"/>
                  </a:lnTo>
                  <a:lnTo>
                    <a:pt x="254" y="224"/>
                  </a:lnTo>
                  <a:close/>
                  <a:moveTo>
                    <a:pt x="85" y="153"/>
                  </a:moveTo>
                  <a:lnTo>
                    <a:pt x="77" y="152"/>
                  </a:lnTo>
                  <a:lnTo>
                    <a:pt x="71" y="151"/>
                  </a:lnTo>
                  <a:lnTo>
                    <a:pt x="64" y="147"/>
                  </a:lnTo>
                  <a:lnTo>
                    <a:pt x="58" y="142"/>
                  </a:lnTo>
                  <a:lnTo>
                    <a:pt x="53" y="137"/>
                  </a:lnTo>
                  <a:lnTo>
                    <a:pt x="51" y="130"/>
                  </a:lnTo>
                  <a:lnTo>
                    <a:pt x="49" y="124"/>
                  </a:lnTo>
                  <a:lnTo>
                    <a:pt x="50" y="115"/>
                  </a:lnTo>
                  <a:lnTo>
                    <a:pt x="51" y="108"/>
                  </a:lnTo>
                  <a:lnTo>
                    <a:pt x="54" y="99"/>
                  </a:lnTo>
                  <a:lnTo>
                    <a:pt x="60" y="90"/>
                  </a:lnTo>
                  <a:lnTo>
                    <a:pt x="66" y="82"/>
                  </a:lnTo>
                  <a:lnTo>
                    <a:pt x="80" y="96"/>
                  </a:lnTo>
                  <a:lnTo>
                    <a:pt x="93" y="111"/>
                  </a:lnTo>
                  <a:lnTo>
                    <a:pt x="107" y="125"/>
                  </a:lnTo>
                  <a:lnTo>
                    <a:pt x="121" y="141"/>
                  </a:lnTo>
                  <a:lnTo>
                    <a:pt x="111" y="145"/>
                  </a:lnTo>
                  <a:lnTo>
                    <a:pt x="102" y="150"/>
                  </a:lnTo>
                  <a:lnTo>
                    <a:pt x="93" y="152"/>
                  </a:lnTo>
                  <a:lnTo>
                    <a:pt x="85" y="153"/>
                  </a:lnTo>
                  <a:close/>
                  <a:moveTo>
                    <a:pt x="287" y="128"/>
                  </a:moveTo>
                  <a:lnTo>
                    <a:pt x="277" y="122"/>
                  </a:lnTo>
                  <a:lnTo>
                    <a:pt x="268" y="116"/>
                  </a:lnTo>
                  <a:lnTo>
                    <a:pt x="260" y="112"/>
                  </a:lnTo>
                  <a:lnTo>
                    <a:pt x="251" y="109"/>
                  </a:lnTo>
                  <a:lnTo>
                    <a:pt x="242" y="106"/>
                  </a:lnTo>
                  <a:lnTo>
                    <a:pt x="233" y="105"/>
                  </a:lnTo>
                  <a:lnTo>
                    <a:pt x="224" y="104"/>
                  </a:lnTo>
                  <a:lnTo>
                    <a:pt x="215" y="104"/>
                  </a:lnTo>
                  <a:lnTo>
                    <a:pt x="207" y="105"/>
                  </a:lnTo>
                  <a:lnTo>
                    <a:pt x="197" y="108"/>
                  </a:lnTo>
                  <a:lnTo>
                    <a:pt x="188" y="110"/>
                  </a:lnTo>
                  <a:lnTo>
                    <a:pt x="179" y="113"/>
                  </a:lnTo>
                  <a:lnTo>
                    <a:pt x="170" y="116"/>
                  </a:lnTo>
                  <a:lnTo>
                    <a:pt x="161" y="120"/>
                  </a:lnTo>
                  <a:lnTo>
                    <a:pt x="152" y="124"/>
                  </a:lnTo>
                  <a:lnTo>
                    <a:pt x="143" y="128"/>
                  </a:lnTo>
                  <a:lnTo>
                    <a:pt x="128" y="112"/>
                  </a:lnTo>
                  <a:lnTo>
                    <a:pt x="114" y="96"/>
                  </a:lnTo>
                  <a:lnTo>
                    <a:pt x="99" y="79"/>
                  </a:lnTo>
                  <a:lnTo>
                    <a:pt x="85" y="64"/>
                  </a:lnTo>
                  <a:lnTo>
                    <a:pt x="91" y="59"/>
                  </a:lnTo>
                  <a:lnTo>
                    <a:pt x="98" y="55"/>
                  </a:lnTo>
                  <a:lnTo>
                    <a:pt x="104" y="52"/>
                  </a:lnTo>
                  <a:lnTo>
                    <a:pt x="110" y="51"/>
                  </a:lnTo>
                  <a:lnTo>
                    <a:pt x="123" y="52"/>
                  </a:lnTo>
                  <a:lnTo>
                    <a:pt x="133" y="55"/>
                  </a:lnTo>
                  <a:lnTo>
                    <a:pt x="144" y="57"/>
                  </a:lnTo>
                  <a:lnTo>
                    <a:pt x="155" y="59"/>
                  </a:lnTo>
                  <a:lnTo>
                    <a:pt x="159" y="60"/>
                  </a:lnTo>
                  <a:lnTo>
                    <a:pt x="164" y="59"/>
                  </a:lnTo>
                  <a:lnTo>
                    <a:pt x="168" y="58"/>
                  </a:lnTo>
                  <a:lnTo>
                    <a:pt x="171" y="55"/>
                  </a:lnTo>
                  <a:lnTo>
                    <a:pt x="175" y="51"/>
                  </a:lnTo>
                  <a:lnTo>
                    <a:pt x="178" y="47"/>
                  </a:lnTo>
                  <a:lnTo>
                    <a:pt x="179" y="43"/>
                  </a:lnTo>
                  <a:lnTo>
                    <a:pt x="180" y="37"/>
                  </a:lnTo>
                  <a:lnTo>
                    <a:pt x="180" y="32"/>
                  </a:lnTo>
                  <a:lnTo>
                    <a:pt x="179" y="27"/>
                  </a:lnTo>
                  <a:lnTo>
                    <a:pt x="175" y="22"/>
                  </a:lnTo>
                  <a:lnTo>
                    <a:pt x="172" y="17"/>
                  </a:lnTo>
                  <a:lnTo>
                    <a:pt x="166" y="10"/>
                  </a:lnTo>
                  <a:lnTo>
                    <a:pt x="159" y="6"/>
                  </a:lnTo>
                  <a:lnTo>
                    <a:pt x="152" y="3"/>
                  </a:lnTo>
                  <a:lnTo>
                    <a:pt x="144" y="1"/>
                  </a:lnTo>
                  <a:lnTo>
                    <a:pt x="135" y="0"/>
                  </a:lnTo>
                  <a:lnTo>
                    <a:pt x="128" y="0"/>
                  </a:lnTo>
                  <a:lnTo>
                    <a:pt x="119" y="0"/>
                  </a:lnTo>
                  <a:lnTo>
                    <a:pt x="111" y="2"/>
                  </a:lnTo>
                  <a:lnTo>
                    <a:pt x="102" y="4"/>
                  </a:lnTo>
                  <a:lnTo>
                    <a:pt x="94" y="7"/>
                  </a:lnTo>
                  <a:lnTo>
                    <a:pt x="86" y="10"/>
                  </a:lnTo>
                  <a:lnTo>
                    <a:pt x="78" y="15"/>
                  </a:lnTo>
                  <a:lnTo>
                    <a:pt x="64" y="23"/>
                  </a:lnTo>
                  <a:lnTo>
                    <a:pt x="53" y="33"/>
                  </a:lnTo>
                  <a:lnTo>
                    <a:pt x="50" y="30"/>
                  </a:lnTo>
                  <a:lnTo>
                    <a:pt x="47" y="27"/>
                  </a:lnTo>
                  <a:lnTo>
                    <a:pt x="43" y="23"/>
                  </a:lnTo>
                  <a:lnTo>
                    <a:pt x="37" y="22"/>
                  </a:lnTo>
                  <a:lnTo>
                    <a:pt x="34" y="23"/>
                  </a:lnTo>
                  <a:lnTo>
                    <a:pt x="32" y="23"/>
                  </a:lnTo>
                  <a:lnTo>
                    <a:pt x="29" y="25"/>
                  </a:lnTo>
                  <a:lnTo>
                    <a:pt x="26" y="28"/>
                  </a:lnTo>
                  <a:lnTo>
                    <a:pt x="25" y="30"/>
                  </a:lnTo>
                  <a:lnTo>
                    <a:pt x="24" y="32"/>
                  </a:lnTo>
                  <a:lnTo>
                    <a:pt x="23" y="35"/>
                  </a:lnTo>
                  <a:lnTo>
                    <a:pt x="23" y="37"/>
                  </a:lnTo>
                  <a:lnTo>
                    <a:pt x="25" y="43"/>
                  </a:lnTo>
                  <a:lnTo>
                    <a:pt x="29" y="47"/>
                  </a:lnTo>
                  <a:lnTo>
                    <a:pt x="32" y="49"/>
                  </a:lnTo>
                  <a:lnTo>
                    <a:pt x="35" y="52"/>
                  </a:lnTo>
                  <a:lnTo>
                    <a:pt x="29" y="61"/>
                  </a:lnTo>
                  <a:lnTo>
                    <a:pt x="22" y="70"/>
                  </a:lnTo>
                  <a:lnTo>
                    <a:pt x="17" y="79"/>
                  </a:lnTo>
                  <a:lnTo>
                    <a:pt x="12" y="89"/>
                  </a:lnTo>
                  <a:lnTo>
                    <a:pt x="8" y="99"/>
                  </a:lnTo>
                  <a:lnTo>
                    <a:pt x="5" y="109"/>
                  </a:lnTo>
                  <a:lnTo>
                    <a:pt x="3" y="118"/>
                  </a:lnTo>
                  <a:lnTo>
                    <a:pt x="2" y="127"/>
                  </a:lnTo>
                  <a:lnTo>
                    <a:pt x="0" y="137"/>
                  </a:lnTo>
                  <a:lnTo>
                    <a:pt x="2" y="145"/>
                  </a:lnTo>
                  <a:lnTo>
                    <a:pt x="3" y="154"/>
                  </a:lnTo>
                  <a:lnTo>
                    <a:pt x="5" y="163"/>
                  </a:lnTo>
                  <a:lnTo>
                    <a:pt x="9" y="170"/>
                  </a:lnTo>
                  <a:lnTo>
                    <a:pt x="13" y="177"/>
                  </a:lnTo>
                  <a:lnTo>
                    <a:pt x="20" y="184"/>
                  </a:lnTo>
                  <a:lnTo>
                    <a:pt x="26" y="191"/>
                  </a:lnTo>
                  <a:lnTo>
                    <a:pt x="33" y="195"/>
                  </a:lnTo>
                  <a:lnTo>
                    <a:pt x="39" y="199"/>
                  </a:lnTo>
                  <a:lnTo>
                    <a:pt x="47" y="203"/>
                  </a:lnTo>
                  <a:lnTo>
                    <a:pt x="54" y="206"/>
                  </a:lnTo>
                  <a:lnTo>
                    <a:pt x="62" y="208"/>
                  </a:lnTo>
                  <a:lnTo>
                    <a:pt x="70" y="209"/>
                  </a:lnTo>
                  <a:lnTo>
                    <a:pt x="78" y="209"/>
                  </a:lnTo>
                  <a:lnTo>
                    <a:pt x="87" y="209"/>
                  </a:lnTo>
                  <a:lnTo>
                    <a:pt x="104" y="207"/>
                  </a:lnTo>
                  <a:lnTo>
                    <a:pt x="123" y="203"/>
                  </a:lnTo>
                  <a:lnTo>
                    <a:pt x="142" y="196"/>
                  </a:lnTo>
                  <a:lnTo>
                    <a:pt x="161" y="186"/>
                  </a:lnTo>
                  <a:lnTo>
                    <a:pt x="178" y="205"/>
                  </a:lnTo>
                  <a:lnTo>
                    <a:pt x="193" y="223"/>
                  </a:lnTo>
                  <a:lnTo>
                    <a:pt x="209" y="241"/>
                  </a:lnTo>
                  <a:lnTo>
                    <a:pt x="225" y="259"/>
                  </a:lnTo>
                  <a:lnTo>
                    <a:pt x="219" y="263"/>
                  </a:lnTo>
                  <a:lnTo>
                    <a:pt x="212" y="267"/>
                  </a:lnTo>
                  <a:lnTo>
                    <a:pt x="207" y="270"/>
                  </a:lnTo>
                  <a:lnTo>
                    <a:pt x="201" y="272"/>
                  </a:lnTo>
                  <a:lnTo>
                    <a:pt x="196" y="273"/>
                  </a:lnTo>
                  <a:lnTo>
                    <a:pt x="192" y="273"/>
                  </a:lnTo>
                  <a:lnTo>
                    <a:pt x="187" y="273"/>
                  </a:lnTo>
                  <a:lnTo>
                    <a:pt x="183" y="272"/>
                  </a:lnTo>
                  <a:lnTo>
                    <a:pt x="174" y="268"/>
                  </a:lnTo>
                  <a:lnTo>
                    <a:pt x="167" y="264"/>
                  </a:lnTo>
                  <a:lnTo>
                    <a:pt x="160" y="259"/>
                  </a:lnTo>
                  <a:lnTo>
                    <a:pt x="153" y="255"/>
                  </a:lnTo>
                  <a:lnTo>
                    <a:pt x="145" y="252"/>
                  </a:lnTo>
                  <a:lnTo>
                    <a:pt x="139" y="251"/>
                  </a:lnTo>
                  <a:lnTo>
                    <a:pt x="134" y="252"/>
                  </a:lnTo>
                  <a:lnTo>
                    <a:pt x="131" y="253"/>
                  </a:lnTo>
                  <a:lnTo>
                    <a:pt x="127" y="255"/>
                  </a:lnTo>
                  <a:lnTo>
                    <a:pt x="123" y="259"/>
                  </a:lnTo>
                  <a:lnTo>
                    <a:pt x="118" y="263"/>
                  </a:lnTo>
                  <a:lnTo>
                    <a:pt x="116" y="267"/>
                  </a:lnTo>
                  <a:lnTo>
                    <a:pt x="114" y="272"/>
                  </a:lnTo>
                  <a:lnTo>
                    <a:pt x="114" y="277"/>
                  </a:lnTo>
                  <a:lnTo>
                    <a:pt x="114" y="281"/>
                  </a:lnTo>
                  <a:lnTo>
                    <a:pt x="116" y="287"/>
                  </a:lnTo>
                  <a:lnTo>
                    <a:pt x="119" y="292"/>
                  </a:lnTo>
                  <a:lnTo>
                    <a:pt x="123" y="298"/>
                  </a:lnTo>
                  <a:lnTo>
                    <a:pt x="128" y="302"/>
                  </a:lnTo>
                  <a:lnTo>
                    <a:pt x="133" y="306"/>
                  </a:lnTo>
                  <a:lnTo>
                    <a:pt x="140" y="311"/>
                  </a:lnTo>
                  <a:lnTo>
                    <a:pt x="146" y="315"/>
                  </a:lnTo>
                  <a:lnTo>
                    <a:pt x="154" y="317"/>
                  </a:lnTo>
                  <a:lnTo>
                    <a:pt x="161" y="320"/>
                  </a:lnTo>
                  <a:lnTo>
                    <a:pt x="170" y="321"/>
                  </a:lnTo>
                  <a:lnTo>
                    <a:pt x="179" y="322"/>
                  </a:lnTo>
                  <a:lnTo>
                    <a:pt x="188" y="322"/>
                  </a:lnTo>
                  <a:lnTo>
                    <a:pt x="197" y="321"/>
                  </a:lnTo>
                  <a:lnTo>
                    <a:pt x="207" y="320"/>
                  </a:lnTo>
                  <a:lnTo>
                    <a:pt x="216" y="317"/>
                  </a:lnTo>
                  <a:lnTo>
                    <a:pt x="226" y="313"/>
                  </a:lnTo>
                  <a:lnTo>
                    <a:pt x="237" y="306"/>
                  </a:lnTo>
                  <a:lnTo>
                    <a:pt x="247" y="299"/>
                  </a:lnTo>
                  <a:lnTo>
                    <a:pt x="256" y="290"/>
                  </a:lnTo>
                  <a:lnTo>
                    <a:pt x="266" y="299"/>
                  </a:lnTo>
                  <a:lnTo>
                    <a:pt x="275" y="307"/>
                  </a:lnTo>
                  <a:lnTo>
                    <a:pt x="280" y="311"/>
                  </a:lnTo>
                  <a:lnTo>
                    <a:pt x="286" y="311"/>
                  </a:lnTo>
                  <a:lnTo>
                    <a:pt x="288" y="311"/>
                  </a:lnTo>
                  <a:lnTo>
                    <a:pt x="290" y="309"/>
                  </a:lnTo>
                  <a:lnTo>
                    <a:pt x="293" y="307"/>
                  </a:lnTo>
                  <a:lnTo>
                    <a:pt x="294" y="305"/>
                  </a:lnTo>
                  <a:lnTo>
                    <a:pt x="296" y="303"/>
                  </a:lnTo>
                  <a:lnTo>
                    <a:pt x="297" y="301"/>
                  </a:lnTo>
                  <a:lnTo>
                    <a:pt x="299" y="298"/>
                  </a:lnTo>
                  <a:lnTo>
                    <a:pt x="299" y="295"/>
                  </a:lnTo>
                  <a:lnTo>
                    <a:pt x="296" y="290"/>
                  </a:lnTo>
                  <a:lnTo>
                    <a:pt x="293" y="287"/>
                  </a:lnTo>
                  <a:lnTo>
                    <a:pt x="285" y="278"/>
                  </a:lnTo>
                  <a:lnTo>
                    <a:pt x="275" y="271"/>
                  </a:lnTo>
                  <a:lnTo>
                    <a:pt x="282" y="260"/>
                  </a:lnTo>
                  <a:lnTo>
                    <a:pt x="289" y="250"/>
                  </a:lnTo>
                  <a:lnTo>
                    <a:pt x="295" y="239"/>
                  </a:lnTo>
                  <a:lnTo>
                    <a:pt x="301" y="230"/>
                  </a:lnTo>
                  <a:lnTo>
                    <a:pt x="305" y="219"/>
                  </a:lnTo>
                  <a:lnTo>
                    <a:pt x="308" y="209"/>
                  </a:lnTo>
                  <a:lnTo>
                    <a:pt x="310" y="199"/>
                  </a:lnTo>
                  <a:lnTo>
                    <a:pt x="312" y="190"/>
                  </a:lnTo>
                  <a:lnTo>
                    <a:pt x="313" y="181"/>
                  </a:lnTo>
                  <a:lnTo>
                    <a:pt x="312" y="172"/>
                  </a:lnTo>
                  <a:lnTo>
                    <a:pt x="310" y="164"/>
                  </a:lnTo>
                  <a:lnTo>
                    <a:pt x="307" y="156"/>
                  </a:lnTo>
                  <a:lnTo>
                    <a:pt x="304" y="149"/>
                  </a:lnTo>
                  <a:lnTo>
                    <a:pt x="300" y="141"/>
                  </a:lnTo>
                  <a:lnTo>
                    <a:pt x="293" y="135"/>
                  </a:lnTo>
                  <a:lnTo>
                    <a:pt x="287"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55"/>
            <p:cNvSpPr>
              <a:spLocks/>
            </p:cNvSpPr>
            <p:nvPr/>
          </p:nvSpPr>
          <p:spPr bwMode="auto">
            <a:xfrm>
              <a:off x="8238331" y="3048397"/>
              <a:ext cx="69850" cy="71438"/>
            </a:xfrm>
            <a:custGeom>
              <a:avLst/>
              <a:gdLst>
                <a:gd name="T0" fmla="*/ 145 w 174"/>
                <a:gd name="T1" fmla="*/ 4 h 183"/>
                <a:gd name="T2" fmla="*/ 145 w 174"/>
                <a:gd name="T3" fmla="*/ 4 h 183"/>
                <a:gd name="T4" fmla="*/ 129 w 174"/>
                <a:gd name="T5" fmla="*/ 17 h 183"/>
                <a:gd name="T6" fmla="*/ 111 w 174"/>
                <a:gd name="T7" fmla="*/ 31 h 183"/>
                <a:gd name="T8" fmla="*/ 95 w 174"/>
                <a:gd name="T9" fmla="*/ 46 h 183"/>
                <a:gd name="T10" fmla="*/ 80 w 174"/>
                <a:gd name="T11" fmla="*/ 61 h 183"/>
                <a:gd name="T12" fmla="*/ 66 w 174"/>
                <a:gd name="T13" fmla="*/ 75 h 183"/>
                <a:gd name="T14" fmla="*/ 52 w 174"/>
                <a:gd name="T15" fmla="*/ 90 h 183"/>
                <a:gd name="T16" fmla="*/ 39 w 174"/>
                <a:gd name="T17" fmla="*/ 106 h 183"/>
                <a:gd name="T18" fmla="*/ 27 w 174"/>
                <a:gd name="T19" fmla="*/ 121 h 183"/>
                <a:gd name="T20" fmla="*/ 3 w 174"/>
                <a:gd name="T21" fmla="*/ 155 h 183"/>
                <a:gd name="T22" fmla="*/ 3 w 174"/>
                <a:gd name="T23" fmla="*/ 155 h 183"/>
                <a:gd name="T24" fmla="*/ 0 w 174"/>
                <a:gd name="T25" fmla="*/ 161 h 183"/>
                <a:gd name="T26" fmla="*/ 0 w 174"/>
                <a:gd name="T27" fmla="*/ 166 h 183"/>
                <a:gd name="T28" fmla="*/ 2 w 174"/>
                <a:gd name="T29" fmla="*/ 173 h 183"/>
                <a:gd name="T30" fmla="*/ 5 w 174"/>
                <a:gd name="T31" fmla="*/ 177 h 183"/>
                <a:gd name="T32" fmla="*/ 8 w 174"/>
                <a:gd name="T33" fmla="*/ 179 h 183"/>
                <a:gd name="T34" fmla="*/ 11 w 174"/>
                <a:gd name="T35" fmla="*/ 182 h 183"/>
                <a:gd name="T36" fmla="*/ 14 w 174"/>
                <a:gd name="T37" fmla="*/ 183 h 183"/>
                <a:gd name="T38" fmla="*/ 18 w 174"/>
                <a:gd name="T39" fmla="*/ 183 h 183"/>
                <a:gd name="T40" fmla="*/ 22 w 174"/>
                <a:gd name="T41" fmla="*/ 183 h 183"/>
                <a:gd name="T42" fmla="*/ 25 w 174"/>
                <a:gd name="T43" fmla="*/ 182 h 183"/>
                <a:gd name="T44" fmla="*/ 28 w 174"/>
                <a:gd name="T45" fmla="*/ 179 h 183"/>
                <a:gd name="T46" fmla="*/ 30 w 174"/>
                <a:gd name="T47" fmla="*/ 177 h 183"/>
                <a:gd name="T48" fmla="*/ 32 w 174"/>
                <a:gd name="T49" fmla="*/ 176 h 183"/>
                <a:gd name="T50" fmla="*/ 33 w 174"/>
                <a:gd name="T51" fmla="*/ 174 h 183"/>
                <a:gd name="T52" fmla="*/ 56 w 174"/>
                <a:gd name="T53" fmla="*/ 143 h 183"/>
                <a:gd name="T54" fmla="*/ 68 w 174"/>
                <a:gd name="T55" fmla="*/ 128 h 183"/>
                <a:gd name="T56" fmla="*/ 80 w 174"/>
                <a:gd name="T57" fmla="*/ 114 h 183"/>
                <a:gd name="T58" fmla="*/ 92 w 174"/>
                <a:gd name="T59" fmla="*/ 100 h 183"/>
                <a:gd name="T60" fmla="*/ 106 w 174"/>
                <a:gd name="T61" fmla="*/ 85 h 183"/>
                <a:gd name="T62" fmla="*/ 120 w 174"/>
                <a:gd name="T63" fmla="*/ 71 h 183"/>
                <a:gd name="T64" fmla="*/ 135 w 174"/>
                <a:gd name="T65" fmla="*/ 58 h 183"/>
                <a:gd name="T66" fmla="*/ 151 w 174"/>
                <a:gd name="T67" fmla="*/ 46 h 183"/>
                <a:gd name="T68" fmla="*/ 167 w 174"/>
                <a:gd name="T69" fmla="*/ 33 h 183"/>
                <a:gd name="T70" fmla="*/ 167 w 174"/>
                <a:gd name="T71" fmla="*/ 33 h 183"/>
                <a:gd name="T72" fmla="*/ 168 w 174"/>
                <a:gd name="T73" fmla="*/ 31 h 183"/>
                <a:gd name="T74" fmla="*/ 168 w 174"/>
                <a:gd name="T75" fmla="*/ 31 h 183"/>
                <a:gd name="T76" fmla="*/ 172 w 174"/>
                <a:gd name="T77" fmla="*/ 28 h 183"/>
                <a:gd name="T78" fmla="*/ 173 w 174"/>
                <a:gd name="T79" fmla="*/ 25 h 183"/>
                <a:gd name="T80" fmla="*/ 174 w 174"/>
                <a:gd name="T81" fmla="*/ 22 h 183"/>
                <a:gd name="T82" fmla="*/ 174 w 174"/>
                <a:gd name="T83" fmla="*/ 19 h 183"/>
                <a:gd name="T84" fmla="*/ 174 w 174"/>
                <a:gd name="T85" fmla="*/ 15 h 183"/>
                <a:gd name="T86" fmla="*/ 173 w 174"/>
                <a:gd name="T87" fmla="*/ 11 h 183"/>
                <a:gd name="T88" fmla="*/ 172 w 174"/>
                <a:gd name="T89" fmla="*/ 9 h 183"/>
                <a:gd name="T90" fmla="*/ 168 w 174"/>
                <a:gd name="T91" fmla="*/ 6 h 183"/>
                <a:gd name="T92" fmla="*/ 166 w 174"/>
                <a:gd name="T93" fmla="*/ 3 h 183"/>
                <a:gd name="T94" fmla="*/ 163 w 174"/>
                <a:gd name="T95" fmla="*/ 1 h 183"/>
                <a:gd name="T96" fmla="*/ 160 w 174"/>
                <a:gd name="T97" fmla="*/ 0 h 183"/>
                <a:gd name="T98" fmla="*/ 157 w 174"/>
                <a:gd name="T99" fmla="*/ 0 h 183"/>
                <a:gd name="T100" fmla="*/ 153 w 174"/>
                <a:gd name="T101" fmla="*/ 0 h 183"/>
                <a:gd name="T102" fmla="*/ 150 w 174"/>
                <a:gd name="T103" fmla="*/ 1 h 183"/>
                <a:gd name="T104" fmla="*/ 148 w 174"/>
                <a:gd name="T105" fmla="*/ 2 h 183"/>
                <a:gd name="T106" fmla="*/ 145 w 174"/>
                <a:gd name="T107" fmla="*/ 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4" h="183">
                  <a:moveTo>
                    <a:pt x="145" y="4"/>
                  </a:moveTo>
                  <a:lnTo>
                    <a:pt x="145" y="4"/>
                  </a:lnTo>
                  <a:lnTo>
                    <a:pt x="129" y="17"/>
                  </a:lnTo>
                  <a:lnTo>
                    <a:pt x="111" y="31"/>
                  </a:lnTo>
                  <a:lnTo>
                    <a:pt x="95" y="46"/>
                  </a:lnTo>
                  <a:lnTo>
                    <a:pt x="80" y="61"/>
                  </a:lnTo>
                  <a:lnTo>
                    <a:pt x="66" y="75"/>
                  </a:lnTo>
                  <a:lnTo>
                    <a:pt x="52" y="90"/>
                  </a:lnTo>
                  <a:lnTo>
                    <a:pt x="39" y="106"/>
                  </a:lnTo>
                  <a:lnTo>
                    <a:pt x="27" y="121"/>
                  </a:lnTo>
                  <a:lnTo>
                    <a:pt x="3" y="155"/>
                  </a:lnTo>
                  <a:lnTo>
                    <a:pt x="3" y="155"/>
                  </a:lnTo>
                  <a:lnTo>
                    <a:pt x="0" y="161"/>
                  </a:lnTo>
                  <a:lnTo>
                    <a:pt x="0" y="166"/>
                  </a:lnTo>
                  <a:lnTo>
                    <a:pt x="2" y="173"/>
                  </a:lnTo>
                  <a:lnTo>
                    <a:pt x="5" y="177"/>
                  </a:lnTo>
                  <a:lnTo>
                    <a:pt x="8" y="179"/>
                  </a:lnTo>
                  <a:lnTo>
                    <a:pt x="11" y="182"/>
                  </a:lnTo>
                  <a:lnTo>
                    <a:pt x="14" y="183"/>
                  </a:lnTo>
                  <a:lnTo>
                    <a:pt x="18" y="183"/>
                  </a:lnTo>
                  <a:lnTo>
                    <a:pt x="22" y="183"/>
                  </a:lnTo>
                  <a:lnTo>
                    <a:pt x="25" y="182"/>
                  </a:lnTo>
                  <a:lnTo>
                    <a:pt x="28" y="179"/>
                  </a:lnTo>
                  <a:lnTo>
                    <a:pt x="30" y="177"/>
                  </a:lnTo>
                  <a:lnTo>
                    <a:pt x="32" y="176"/>
                  </a:lnTo>
                  <a:lnTo>
                    <a:pt x="33" y="174"/>
                  </a:lnTo>
                  <a:lnTo>
                    <a:pt x="56" y="143"/>
                  </a:lnTo>
                  <a:lnTo>
                    <a:pt x="68" y="128"/>
                  </a:lnTo>
                  <a:lnTo>
                    <a:pt x="80" y="114"/>
                  </a:lnTo>
                  <a:lnTo>
                    <a:pt x="92" y="100"/>
                  </a:lnTo>
                  <a:lnTo>
                    <a:pt x="106" y="85"/>
                  </a:lnTo>
                  <a:lnTo>
                    <a:pt x="120" y="71"/>
                  </a:lnTo>
                  <a:lnTo>
                    <a:pt x="135" y="58"/>
                  </a:lnTo>
                  <a:lnTo>
                    <a:pt x="151" y="46"/>
                  </a:lnTo>
                  <a:lnTo>
                    <a:pt x="167" y="33"/>
                  </a:lnTo>
                  <a:lnTo>
                    <a:pt x="167" y="33"/>
                  </a:lnTo>
                  <a:lnTo>
                    <a:pt x="168" y="31"/>
                  </a:lnTo>
                  <a:lnTo>
                    <a:pt x="168" y="31"/>
                  </a:lnTo>
                  <a:lnTo>
                    <a:pt x="172" y="28"/>
                  </a:lnTo>
                  <a:lnTo>
                    <a:pt x="173" y="25"/>
                  </a:lnTo>
                  <a:lnTo>
                    <a:pt x="174" y="22"/>
                  </a:lnTo>
                  <a:lnTo>
                    <a:pt x="174" y="19"/>
                  </a:lnTo>
                  <a:lnTo>
                    <a:pt x="174" y="15"/>
                  </a:lnTo>
                  <a:lnTo>
                    <a:pt x="173" y="11"/>
                  </a:lnTo>
                  <a:lnTo>
                    <a:pt x="172" y="9"/>
                  </a:lnTo>
                  <a:lnTo>
                    <a:pt x="168" y="6"/>
                  </a:lnTo>
                  <a:lnTo>
                    <a:pt x="166" y="3"/>
                  </a:lnTo>
                  <a:lnTo>
                    <a:pt x="163" y="1"/>
                  </a:lnTo>
                  <a:lnTo>
                    <a:pt x="160" y="0"/>
                  </a:lnTo>
                  <a:lnTo>
                    <a:pt x="157" y="0"/>
                  </a:lnTo>
                  <a:lnTo>
                    <a:pt x="153" y="0"/>
                  </a:lnTo>
                  <a:lnTo>
                    <a:pt x="150" y="1"/>
                  </a:lnTo>
                  <a:lnTo>
                    <a:pt x="148" y="2"/>
                  </a:lnTo>
                  <a:lnTo>
                    <a:pt x="14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56"/>
            <p:cNvSpPr>
              <a:spLocks/>
            </p:cNvSpPr>
            <p:nvPr/>
          </p:nvSpPr>
          <p:spPr bwMode="auto">
            <a:xfrm>
              <a:off x="8320881" y="2803922"/>
              <a:ext cx="69850" cy="73025"/>
            </a:xfrm>
            <a:custGeom>
              <a:avLst/>
              <a:gdLst>
                <a:gd name="T0" fmla="*/ 70 w 177"/>
                <a:gd name="T1" fmla="*/ 99 h 184"/>
                <a:gd name="T2" fmla="*/ 56 w 177"/>
                <a:gd name="T3" fmla="*/ 112 h 184"/>
                <a:gd name="T4" fmla="*/ 41 w 177"/>
                <a:gd name="T5" fmla="*/ 126 h 184"/>
                <a:gd name="T6" fmla="*/ 26 w 177"/>
                <a:gd name="T7" fmla="*/ 138 h 184"/>
                <a:gd name="T8" fmla="*/ 10 w 177"/>
                <a:gd name="T9" fmla="*/ 151 h 184"/>
                <a:gd name="T10" fmla="*/ 8 w 177"/>
                <a:gd name="T11" fmla="*/ 152 h 184"/>
                <a:gd name="T12" fmla="*/ 6 w 177"/>
                <a:gd name="T13" fmla="*/ 154 h 184"/>
                <a:gd name="T14" fmla="*/ 4 w 177"/>
                <a:gd name="T15" fmla="*/ 156 h 184"/>
                <a:gd name="T16" fmla="*/ 2 w 177"/>
                <a:gd name="T17" fmla="*/ 159 h 184"/>
                <a:gd name="T18" fmla="*/ 1 w 177"/>
                <a:gd name="T19" fmla="*/ 163 h 184"/>
                <a:gd name="T20" fmla="*/ 0 w 177"/>
                <a:gd name="T21" fmla="*/ 167 h 184"/>
                <a:gd name="T22" fmla="*/ 1 w 177"/>
                <a:gd name="T23" fmla="*/ 170 h 184"/>
                <a:gd name="T24" fmla="*/ 2 w 177"/>
                <a:gd name="T25" fmla="*/ 173 h 184"/>
                <a:gd name="T26" fmla="*/ 4 w 177"/>
                <a:gd name="T27" fmla="*/ 177 h 184"/>
                <a:gd name="T28" fmla="*/ 6 w 177"/>
                <a:gd name="T29" fmla="*/ 179 h 184"/>
                <a:gd name="T30" fmla="*/ 9 w 177"/>
                <a:gd name="T31" fmla="*/ 182 h 184"/>
                <a:gd name="T32" fmla="*/ 12 w 177"/>
                <a:gd name="T33" fmla="*/ 183 h 184"/>
                <a:gd name="T34" fmla="*/ 15 w 177"/>
                <a:gd name="T35" fmla="*/ 184 h 184"/>
                <a:gd name="T36" fmla="*/ 19 w 177"/>
                <a:gd name="T37" fmla="*/ 184 h 184"/>
                <a:gd name="T38" fmla="*/ 22 w 177"/>
                <a:gd name="T39" fmla="*/ 184 h 184"/>
                <a:gd name="T40" fmla="*/ 25 w 177"/>
                <a:gd name="T41" fmla="*/ 183 h 184"/>
                <a:gd name="T42" fmla="*/ 28 w 177"/>
                <a:gd name="T43" fmla="*/ 182 h 184"/>
                <a:gd name="T44" fmla="*/ 32 w 177"/>
                <a:gd name="T45" fmla="*/ 180 h 184"/>
                <a:gd name="T46" fmla="*/ 32 w 177"/>
                <a:gd name="T47" fmla="*/ 180 h 184"/>
                <a:gd name="T48" fmla="*/ 48 w 177"/>
                <a:gd name="T49" fmla="*/ 167 h 184"/>
                <a:gd name="T50" fmla="*/ 64 w 177"/>
                <a:gd name="T51" fmla="*/ 153 h 184"/>
                <a:gd name="T52" fmla="*/ 80 w 177"/>
                <a:gd name="T53" fmla="*/ 139 h 184"/>
                <a:gd name="T54" fmla="*/ 96 w 177"/>
                <a:gd name="T55" fmla="*/ 124 h 184"/>
                <a:gd name="T56" fmla="*/ 110 w 177"/>
                <a:gd name="T57" fmla="*/ 109 h 184"/>
                <a:gd name="T58" fmla="*/ 123 w 177"/>
                <a:gd name="T59" fmla="*/ 94 h 184"/>
                <a:gd name="T60" fmla="*/ 136 w 177"/>
                <a:gd name="T61" fmla="*/ 78 h 184"/>
                <a:gd name="T62" fmla="*/ 148 w 177"/>
                <a:gd name="T63" fmla="*/ 63 h 184"/>
                <a:gd name="T64" fmla="*/ 173 w 177"/>
                <a:gd name="T65" fmla="*/ 29 h 184"/>
                <a:gd name="T66" fmla="*/ 173 w 177"/>
                <a:gd name="T67" fmla="*/ 29 h 184"/>
                <a:gd name="T68" fmla="*/ 175 w 177"/>
                <a:gd name="T69" fmla="*/ 27 h 184"/>
                <a:gd name="T70" fmla="*/ 176 w 177"/>
                <a:gd name="T71" fmla="*/ 23 h 184"/>
                <a:gd name="T72" fmla="*/ 177 w 177"/>
                <a:gd name="T73" fmla="*/ 20 h 184"/>
                <a:gd name="T74" fmla="*/ 177 w 177"/>
                <a:gd name="T75" fmla="*/ 17 h 184"/>
                <a:gd name="T76" fmla="*/ 177 w 177"/>
                <a:gd name="T77" fmla="*/ 14 h 184"/>
                <a:gd name="T78" fmla="*/ 176 w 177"/>
                <a:gd name="T79" fmla="*/ 10 h 184"/>
                <a:gd name="T80" fmla="*/ 174 w 177"/>
                <a:gd name="T81" fmla="*/ 7 h 184"/>
                <a:gd name="T82" fmla="*/ 172 w 177"/>
                <a:gd name="T83" fmla="*/ 5 h 184"/>
                <a:gd name="T84" fmla="*/ 170 w 177"/>
                <a:gd name="T85" fmla="*/ 2 h 184"/>
                <a:gd name="T86" fmla="*/ 167 w 177"/>
                <a:gd name="T87" fmla="*/ 1 h 184"/>
                <a:gd name="T88" fmla="*/ 163 w 177"/>
                <a:gd name="T89" fmla="*/ 0 h 184"/>
                <a:gd name="T90" fmla="*/ 159 w 177"/>
                <a:gd name="T91" fmla="*/ 0 h 184"/>
                <a:gd name="T92" fmla="*/ 156 w 177"/>
                <a:gd name="T93" fmla="*/ 0 h 184"/>
                <a:gd name="T94" fmla="*/ 153 w 177"/>
                <a:gd name="T95" fmla="*/ 1 h 184"/>
                <a:gd name="T96" fmla="*/ 149 w 177"/>
                <a:gd name="T97" fmla="*/ 2 h 184"/>
                <a:gd name="T98" fmla="*/ 146 w 177"/>
                <a:gd name="T99" fmla="*/ 5 h 184"/>
                <a:gd name="T100" fmla="*/ 145 w 177"/>
                <a:gd name="T101" fmla="*/ 7 h 184"/>
                <a:gd name="T102" fmla="*/ 144 w 177"/>
                <a:gd name="T103" fmla="*/ 9 h 184"/>
                <a:gd name="T104" fmla="*/ 119 w 177"/>
                <a:gd name="T105" fmla="*/ 42 h 184"/>
                <a:gd name="T106" fmla="*/ 108 w 177"/>
                <a:gd name="T107" fmla="*/ 56 h 184"/>
                <a:gd name="T108" fmla="*/ 96 w 177"/>
                <a:gd name="T109" fmla="*/ 71 h 184"/>
                <a:gd name="T110" fmla="*/ 83 w 177"/>
                <a:gd name="T111" fmla="*/ 85 h 184"/>
                <a:gd name="T112" fmla="*/ 70 w 177"/>
                <a:gd name="T113" fmla="*/ 9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7" h="184">
                  <a:moveTo>
                    <a:pt x="70" y="99"/>
                  </a:moveTo>
                  <a:lnTo>
                    <a:pt x="56" y="112"/>
                  </a:lnTo>
                  <a:lnTo>
                    <a:pt x="41" y="126"/>
                  </a:lnTo>
                  <a:lnTo>
                    <a:pt x="26" y="138"/>
                  </a:lnTo>
                  <a:lnTo>
                    <a:pt x="10" y="151"/>
                  </a:lnTo>
                  <a:lnTo>
                    <a:pt x="8" y="152"/>
                  </a:lnTo>
                  <a:lnTo>
                    <a:pt x="6" y="154"/>
                  </a:lnTo>
                  <a:lnTo>
                    <a:pt x="4" y="156"/>
                  </a:lnTo>
                  <a:lnTo>
                    <a:pt x="2" y="159"/>
                  </a:lnTo>
                  <a:lnTo>
                    <a:pt x="1" y="163"/>
                  </a:lnTo>
                  <a:lnTo>
                    <a:pt x="0" y="167"/>
                  </a:lnTo>
                  <a:lnTo>
                    <a:pt x="1" y="170"/>
                  </a:lnTo>
                  <a:lnTo>
                    <a:pt x="2" y="173"/>
                  </a:lnTo>
                  <a:lnTo>
                    <a:pt x="4" y="177"/>
                  </a:lnTo>
                  <a:lnTo>
                    <a:pt x="6" y="179"/>
                  </a:lnTo>
                  <a:lnTo>
                    <a:pt x="9" y="182"/>
                  </a:lnTo>
                  <a:lnTo>
                    <a:pt x="12" y="183"/>
                  </a:lnTo>
                  <a:lnTo>
                    <a:pt x="15" y="184"/>
                  </a:lnTo>
                  <a:lnTo>
                    <a:pt x="19" y="184"/>
                  </a:lnTo>
                  <a:lnTo>
                    <a:pt x="22" y="184"/>
                  </a:lnTo>
                  <a:lnTo>
                    <a:pt x="25" y="183"/>
                  </a:lnTo>
                  <a:lnTo>
                    <a:pt x="28" y="182"/>
                  </a:lnTo>
                  <a:lnTo>
                    <a:pt x="32" y="180"/>
                  </a:lnTo>
                  <a:lnTo>
                    <a:pt x="32" y="180"/>
                  </a:lnTo>
                  <a:lnTo>
                    <a:pt x="48" y="167"/>
                  </a:lnTo>
                  <a:lnTo>
                    <a:pt x="64" y="153"/>
                  </a:lnTo>
                  <a:lnTo>
                    <a:pt x="80" y="139"/>
                  </a:lnTo>
                  <a:lnTo>
                    <a:pt x="96" y="124"/>
                  </a:lnTo>
                  <a:lnTo>
                    <a:pt x="110" y="109"/>
                  </a:lnTo>
                  <a:lnTo>
                    <a:pt x="123" y="94"/>
                  </a:lnTo>
                  <a:lnTo>
                    <a:pt x="136" y="78"/>
                  </a:lnTo>
                  <a:lnTo>
                    <a:pt x="148" y="63"/>
                  </a:lnTo>
                  <a:lnTo>
                    <a:pt x="173" y="29"/>
                  </a:lnTo>
                  <a:lnTo>
                    <a:pt x="173" y="29"/>
                  </a:lnTo>
                  <a:lnTo>
                    <a:pt x="175" y="27"/>
                  </a:lnTo>
                  <a:lnTo>
                    <a:pt x="176" y="23"/>
                  </a:lnTo>
                  <a:lnTo>
                    <a:pt x="177" y="20"/>
                  </a:lnTo>
                  <a:lnTo>
                    <a:pt x="177" y="17"/>
                  </a:lnTo>
                  <a:lnTo>
                    <a:pt x="177" y="14"/>
                  </a:lnTo>
                  <a:lnTo>
                    <a:pt x="176" y="10"/>
                  </a:lnTo>
                  <a:lnTo>
                    <a:pt x="174" y="7"/>
                  </a:lnTo>
                  <a:lnTo>
                    <a:pt x="172" y="5"/>
                  </a:lnTo>
                  <a:lnTo>
                    <a:pt x="170" y="2"/>
                  </a:lnTo>
                  <a:lnTo>
                    <a:pt x="167" y="1"/>
                  </a:lnTo>
                  <a:lnTo>
                    <a:pt x="163" y="0"/>
                  </a:lnTo>
                  <a:lnTo>
                    <a:pt x="159" y="0"/>
                  </a:lnTo>
                  <a:lnTo>
                    <a:pt x="156" y="0"/>
                  </a:lnTo>
                  <a:lnTo>
                    <a:pt x="153" y="1"/>
                  </a:lnTo>
                  <a:lnTo>
                    <a:pt x="149" y="2"/>
                  </a:lnTo>
                  <a:lnTo>
                    <a:pt x="146" y="5"/>
                  </a:lnTo>
                  <a:lnTo>
                    <a:pt x="145" y="7"/>
                  </a:lnTo>
                  <a:lnTo>
                    <a:pt x="144" y="9"/>
                  </a:lnTo>
                  <a:lnTo>
                    <a:pt x="119" y="42"/>
                  </a:lnTo>
                  <a:lnTo>
                    <a:pt x="108" y="56"/>
                  </a:lnTo>
                  <a:lnTo>
                    <a:pt x="96" y="71"/>
                  </a:lnTo>
                  <a:lnTo>
                    <a:pt x="83" y="85"/>
                  </a:lnTo>
                  <a:lnTo>
                    <a:pt x="70"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1" name="Title 1"/>
          <p:cNvSpPr txBox="1">
            <a:spLocks/>
          </p:cNvSpPr>
          <p:nvPr/>
        </p:nvSpPr>
        <p:spPr>
          <a:xfrm>
            <a:off x="6865321" y="5532790"/>
            <a:ext cx="4241591" cy="413547"/>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pPr algn="l"/>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Money laundering and sanctions screening</a:t>
            </a:r>
          </a:p>
        </p:txBody>
      </p:sp>
      <p:sp>
        <p:nvSpPr>
          <p:cNvPr id="93" name="Rectangle 92"/>
          <p:cNvSpPr/>
          <p:nvPr/>
        </p:nvSpPr>
        <p:spPr>
          <a:xfrm>
            <a:off x="10040112" y="6358128"/>
            <a:ext cx="1944624" cy="481584"/>
          </a:xfrm>
          <a:prstGeom prst="rect">
            <a:avLst/>
          </a:prstGeom>
          <a:solidFill>
            <a:srgbClr val="0E0F1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61994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heel(1)">
                                      <p:cBhvr>
                                        <p:cTn id="7" dur="3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fade">
                                      <p:cBhvr>
                                        <p:cTn id="12" dur="1000"/>
                                        <p:tgtEl>
                                          <p:spTgt spid="57"/>
                                        </p:tgtEl>
                                      </p:cBhvr>
                                    </p:animEffect>
                                    <p:anim calcmode="lin" valueType="num">
                                      <p:cBhvr>
                                        <p:cTn id="13" dur="1000" fill="hold"/>
                                        <p:tgtEl>
                                          <p:spTgt spid="57"/>
                                        </p:tgtEl>
                                        <p:attrNameLst>
                                          <p:attrName>ppt_x</p:attrName>
                                        </p:attrNameLst>
                                      </p:cBhvr>
                                      <p:tavLst>
                                        <p:tav tm="0">
                                          <p:val>
                                            <p:strVal val="#ppt_x"/>
                                          </p:val>
                                        </p:tav>
                                        <p:tav tm="100000">
                                          <p:val>
                                            <p:strVal val="#ppt_x"/>
                                          </p:val>
                                        </p:tav>
                                      </p:tavLst>
                                    </p:anim>
                                    <p:anim calcmode="lin" valueType="num">
                                      <p:cBhvr>
                                        <p:cTn id="14" dur="1000" fill="hold"/>
                                        <p:tgtEl>
                                          <p:spTgt spid="5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1000"/>
                                        <p:tgtEl>
                                          <p:spTgt spid="52"/>
                                        </p:tgtEl>
                                      </p:cBhvr>
                                    </p:animEffect>
                                    <p:anim calcmode="lin" valueType="num">
                                      <p:cBhvr>
                                        <p:cTn id="18" dur="1000" fill="hold"/>
                                        <p:tgtEl>
                                          <p:spTgt spid="52"/>
                                        </p:tgtEl>
                                        <p:attrNameLst>
                                          <p:attrName>ppt_x</p:attrName>
                                        </p:attrNameLst>
                                      </p:cBhvr>
                                      <p:tavLst>
                                        <p:tav tm="0">
                                          <p:val>
                                            <p:strVal val="#ppt_x"/>
                                          </p:val>
                                        </p:tav>
                                        <p:tav tm="100000">
                                          <p:val>
                                            <p:strVal val="#ppt_x"/>
                                          </p:val>
                                        </p:tav>
                                      </p:tavLst>
                                    </p:anim>
                                    <p:anim calcmode="lin" valueType="num">
                                      <p:cBhvr>
                                        <p:cTn id="19" dur="1000" fill="hold"/>
                                        <p:tgtEl>
                                          <p:spTgt spid="5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1000"/>
                                        <p:tgtEl>
                                          <p:spTgt spid="61"/>
                                        </p:tgtEl>
                                      </p:cBhvr>
                                    </p:animEffect>
                                    <p:anim calcmode="lin" valueType="num">
                                      <p:cBhvr>
                                        <p:cTn id="23" dur="1000" fill="hold"/>
                                        <p:tgtEl>
                                          <p:spTgt spid="61"/>
                                        </p:tgtEl>
                                        <p:attrNameLst>
                                          <p:attrName>ppt_x</p:attrName>
                                        </p:attrNameLst>
                                      </p:cBhvr>
                                      <p:tavLst>
                                        <p:tav tm="0">
                                          <p:val>
                                            <p:strVal val="#ppt_x"/>
                                          </p:val>
                                        </p:tav>
                                        <p:tav tm="100000">
                                          <p:val>
                                            <p:strVal val="#ppt_x"/>
                                          </p:val>
                                        </p:tav>
                                      </p:tavLst>
                                    </p:anim>
                                    <p:anim calcmode="lin" valueType="num">
                                      <p:cBhvr>
                                        <p:cTn id="24" dur="1000" fill="hold"/>
                                        <p:tgtEl>
                                          <p:spTgt spid="61"/>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78"/>
                                        </p:tgtEl>
                                        <p:attrNameLst>
                                          <p:attrName>style.visibility</p:attrName>
                                        </p:attrNameLst>
                                      </p:cBhvr>
                                      <p:to>
                                        <p:strVal val="visible"/>
                                      </p:to>
                                    </p:set>
                                    <p:animEffect transition="in" filter="fade">
                                      <p:cBhvr>
                                        <p:cTn id="27" dur="1000"/>
                                        <p:tgtEl>
                                          <p:spTgt spid="78"/>
                                        </p:tgtEl>
                                      </p:cBhvr>
                                    </p:animEffect>
                                    <p:anim calcmode="lin" valueType="num">
                                      <p:cBhvr>
                                        <p:cTn id="28" dur="1000" fill="hold"/>
                                        <p:tgtEl>
                                          <p:spTgt spid="78"/>
                                        </p:tgtEl>
                                        <p:attrNameLst>
                                          <p:attrName>ppt_x</p:attrName>
                                        </p:attrNameLst>
                                      </p:cBhvr>
                                      <p:tavLst>
                                        <p:tav tm="0">
                                          <p:val>
                                            <p:strVal val="#ppt_x"/>
                                          </p:val>
                                        </p:tav>
                                        <p:tav tm="100000">
                                          <p:val>
                                            <p:strVal val="#ppt_x"/>
                                          </p:val>
                                        </p:tav>
                                      </p:tavLst>
                                    </p:anim>
                                    <p:anim calcmode="lin" valueType="num">
                                      <p:cBhvr>
                                        <p:cTn id="29" dur="1000" fill="hold"/>
                                        <p:tgtEl>
                                          <p:spTgt spid="78"/>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1000"/>
                                        <p:tgtEl>
                                          <p:spTgt spid="58"/>
                                        </p:tgtEl>
                                      </p:cBhvr>
                                    </p:animEffect>
                                    <p:anim calcmode="lin" valueType="num">
                                      <p:cBhvr>
                                        <p:cTn id="33" dur="1000" fill="hold"/>
                                        <p:tgtEl>
                                          <p:spTgt spid="58"/>
                                        </p:tgtEl>
                                        <p:attrNameLst>
                                          <p:attrName>ppt_x</p:attrName>
                                        </p:attrNameLst>
                                      </p:cBhvr>
                                      <p:tavLst>
                                        <p:tav tm="0">
                                          <p:val>
                                            <p:strVal val="#ppt_x"/>
                                          </p:val>
                                        </p:tav>
                                        <p:tav tm="100000">
                                          <p:val>
                                            <p:strVal val="#ppt_x"/>
                                          </p:val>
                                        </p:tav>
                                      </p:tavLst>
                                    </p:anim>
                                    <p:anim calcmode="lin" valueType="num">
                                      <p:cBhvr>
                                        <p:cTn id="34" dur="1000" fill="hold"/>
                                        <p:tgtEl>
                                          <p:spTgt spid="58"/>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54"/>
                                        </p:tgtEl>
                                        <p:attrNameLst>
                                          <p:attrName>style.visibility</p:attrName>
                                        </p:attrNameLst>
                                      </p:cBhvr>
                                      <p:to>
                                        <p:strVal val="visible"/>
                                      </p:to>
                                    </p:set>
                                    <p:animEffect transition="in" filter="fade">
                                      <p:cBhvr>
                                        <p:cTn id="37" dur="1000"/>
                                        <p:tgtEl>
                                          <p:spTgt spid="54"/>
                                        </p:tgtEl>
                                      </p:cBhvr>
                                    </p:animEffect>
                                    <p:anim calcmode="lin" valueType="num">
                                      <p:cBhvr>
                                        <p:cTn id="38" dur="1000" fill="hold"/>
                                        <p:tgtEl>
                                          <p:spTgt spid="54"/>
                                        </p:tgtEl>
                                        <p:attrNameLst>
                                          <p:attrName>ppt_x</p:attrName>
                                        </p:attrNameLst>
                                      </p:cBhvr>
                                      <p:tavLst>
                                        <p:tav tm="0">
                                          <p:val>
                                            <p:strVal val="#ppt_x"/>
                                          </p:val>
                                        </p:tav>
                                        <p:tav tm="100000">
                                          <p:val>
                                            <p:strVal val="#ppt_x"/>
                                          </p:val>
                                        </p:tav>
                                      </p:tavLst>
                                    </p:anim>
                                    <p:anim calcmode="lin" valueType="num">
                                      <p:cBhvr>
                                        <p:cTn id="39" dur="1000" fill="hold"/>
                                        <p:tgtEl>
                                          <p:spTgt spid="54"/>
                                        </p:tgtEl>
                                        <p:attrNameLst>
                                          <p:attrName>ppt_y</p:attrName>
                                        </p:attrNameLst>
                                      </p:cBhvr>
                                      <p:tavLst>
                                        <p:tav tm="0">
                                          <p:val>
                                            <p:strVal val="#ppt_y+.1"/>
                                          </p:val>
                                        </p:tav>
                                        <p:tav tm="100000">
                                          <p:val>
                                            <p:strVal val="#ppt_y"/>
                                          </p:val>
                                        </p:tav>
                                      </p:tavLst>
                                    </p:anim>
                                  </p:childTnLst>
                                </p:cTn>
                              </p:par>
                            </p:childTnLst>
                          </p:cTn>
                        </p:par>
                        <p:par>
                          <p:cTn id="40" fill="hold">
                            <p:stCondLst>
                              <p:cond delay="1000"/>
                            </p:stCondLst>
                            <p:childTnLst>
                              <p:par>
                                <p:cTn id="41" presetID="2" presetClass="entr" presetSubtype="4" fill="hold" nodeType="afterEffect">
                                  <p:stCondLst>
                                    <p:cond delay="2000"/>
                                  </p:stCondLst>
                                  <p:childTnLst>
                                    <p:set>
                                      <p:cBhvr>
                                        <p:cTn id="42" dur="1" fill="hold">
                                          <p:stCondLst>
                                            <p:cond delay="0"/>
                                          </p:stCondLst>
                                        </p:cTn>
                                        <p:tgtEl>
                                          <p:spTgt spid="74"/>
                                        </p:tgtEl>
                                        <p:attrNameLst>
                                          <p:attrName>style.visibility</p:attrName>
                                        </p:attrNameLst>
                                      </p:cBhvr>
                                      <p:to>
                                        <p:strVal val="visible"/>
                                      </p:to>
                                    </p:set>
                                    <p:anim calcmode="lin" valueType="num">
                                      <p:cBhvr additive="base">
                                        <p:cTn id="43" dur="1000" fill="hold"/>
                                        <p:tgtEl>
                                          <p:spTgt spid="74"/>
                                        </p:tgtEl>
                                        <p:attrNameLst>
                                          <p:attrName>ppt_x</p:attrName>
                                        </p:attrNameLst>
                                      </p:cBhvr>
                                      <p:tavLst>
                                        <p:tav tm="0">
                                          <p:val>
                                            <p:strVal val="#ppt_x"/>
                                          </p:val>
                                        </p:tav>
                                        <p:tav tm="100000">
                                          <p:val>
                                            <p:strVal val="#ppt_x"/>
                                          </p:val>
                                        </p:tav>
                                      </p:tavLst>
                                    </p:anim>
                                    <p:anim calcmode="lin" valueType="num">
                                      <p:cBhvr additive="base">
                                        <p:cTn id="44" dur="1000" fill="hold"/>
                                        <p:tgtEl>
                                          <p:spTgt spid="74"/>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2000"/>
                                  </p:stCondLst>
                                  <p:childTnLst>
                                    <p:set>
                                      <p:cBhvr>
                                        <p:cTn id="46" dur="1" fill="hold">
                                          <p:stCondLst>
                                            <p:cond delay="0"/>
                                          </p:stCondLst>
                                        </p:cTn>
                                        <p:tgtEl>
                                          <p:spTgt spid="59"/>
                                        </p:tgtEl>
                                        <p:attrNameLst>
                                          <p:attrName>style.visibility</p:attrName>
                                        </p:attrNameLst>
                                      </p:cBhvr>
                                      <p:to>
                                        <p:strVal val="visible"/>
                                      </p:to>
                                    </p:set>
                                    <p:anim calcmode="lin" valueType="num">
                                      <p:cBhvr additive="base">
                                        <p:cTn id="47" dur="1000" fill="hold"/>
                                        <p:tgtEl>
                                          <p:spTgt spid="59"/>
                                        </p:tgtEl>
                                        <p:attrNameLst>
                                          <p:attrName>ppt_x</p:attrName>
                                        </p:attrNameLst>
                                      </p:cBhvr>
                                      <p:tavLst>
                                        <p:tav tm="0">
                                          <p:val>
                                            <p:strVal val="#ppt_x"/>
                                          </p:val>
                                        </p:tav>
                                        <p:tav tm="100000">
                                          <p:val>
                                            <p:strVal val="#ppt_x"/>
                                          </p:val>
                                        </p:tav>
                                      </p:tavLst>
                                    </p:anim>
                                    <p:anim calcmode="lin" valueType="num">
                                      <p:cBhvr additive="base">
                                        <p:cTn id="48" dur="1000" fill="hold"/>
                                        <p:tgtEl>
                                          <p:spTgt spid="59"/>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2000"/>
                                  </p:stCondLst>
                                  <p:childTnLst>
                                    <p:set>
                                      <p:cBhvr>
                                        <p:cTn id="50" dur="1" fill="hold">
                                          <p:stCondLst>
                                            <p:cond delay="0"/>
                                          </p:stCondLst>
                                        </p:cTn>
                                        <p:tgtEl>
                                          <p:spTgt spid="55"/>
                                        </p:tgtEl>
                                        <p:attrNameLst>
                                          <p:attrName>style.visibility</p:attrName>
                                        </p:attrNameLst>
                                      </p:cBhvr>
                                      <p:to>
                                        <p:strVal val="visible"/>
                                      </p:to>
                                    </p:set>
                                    <p:anim calcmode="lin" valueType="num">
                                      <p:cBhvr additive="base">
                                        <p:cTn id="51" dur="1000" fill="hold"/>
                                        <p:tgtEl>
                                          <p:spTgt spid="55"/>
                                        </p:tgtEl>
                                        <p:attrNameLst>
                                          <p:attrName>ppt_x</p:attrName>
                                        </p:attrNameLst>
                                      </p:cBhvr>
                                      <p:tavLst>
                                        <p:tav tm="0">
                                          <p:val>
                                            <p:strVal val="#ppt_x"/>
                                          </p:val>
                                        </p:tav>
                                        <p:tav tm="100000">
                                          <p:val>
                                            <p:strVal val="#ppt_x"/>
                                          </p:val>
                                        </p:tav>
                                      </p:tavLst>
                                    </p:anim>
                                    <p:anim calcmode="lin" valueType="num">
                                      <p:cBhvr additive="base">
                                        <p:cTn id="52" dur="1000" fill="hold"/>
                                        <p:tgtEl>
                                          <p:spTgt spid="55"/>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2000"/>
                                  </p:stCondLst>
                                  <p:childTnLst>
                                    <p:set>
                                      <p:cBhvr>
                                        <p:cTn id="54" dur="1" fill="hold">
                                          <p:stCondLst>
                                            <p:cond delay="0"/>
                                          </p:stCondLst>
                                        </p:cTn>
                                        <p:tgtEl>
                                          <p:spTgt spid="60"/>
                                        </p:tgtEl>
                                        <p:attrNameLst>
                                          <p:attrName>style.visibility</p:attrName>
                                        </p:attrNameLst>
                                      </p:cBhvr>
                                      <p:to>
                                        <p:strVal val="visible"/>
                                      </p:to>
                                    </p:set>
                                    <p:anim calcmode="lin" valueType="num">
                                      <p:cBhvr additive="base">
                                        <p:cTn id="55" dur="1000" fill="hold"/>
                                        <p:tgtEl>
                                          <p:spTgt spid="60"/>
                                        </p:tgtEl>
                                        <p:attrNameLst>
                                          <p:attrName>ppt_x</p:attrName>
                                        </p:attrNameLst>
                                      </p:cBhvr>
                                      <p:tavLst>
                                        <p:tav tm="0">
                                          <p:val>
                                            <p:strVal val="#ppt_x"/>
                                          </p:val>
                                        </p:tav>
                                        <p:tav tm="100000">
                                          <p:val>
                                            <p:strVal val="#ppt_x"/>
                                          </p:val>
                                        </p:tav>
                                      </p:tavLst>
                                    </p:anim>
                                    <p:anim calcmode="lin" valueType="num">
                                      <p:cBhvr additive="base">
                                        <p:cTn id="56" dur="1000" fill="hold"/>
                                        <p:tgtEl>
                                          <p:spTgt spid="60"/>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2000"/>
                                  </p:stCondLst>
                                  <p:childTnLst>
                                    <p:set>
                                      <p:cBhvr>
                                        <p:cTn id="58" dur="1" fill="hold">
                                          <p:stCondLst>
                                            <p:cond delay="0"/>
                                          </p:stCondLst>
                                        </p:cTn>
                                        <p:tgtEl>
                                          <p:spTgt spid="62"/>
                                        </p:tgtEl>
                                        <p:attrNameLst>
                                          <p:attrName>style.visibility</p:attrName>
                                        </p:attrNameLst>
                                      </p:cBhvr>
                                      <p:to>
                                        <p:strVal val="visible"/>
                                      </p:to>
                                    </p:set>
                                    <p:anim calcmode="lin" valueType="num">
                                      <p:cBhvr additive="base">
                                        <p:cTn id="59" dur="1000" fill="hold"/>
                                        <p:tgtEl>
                                          <p:spTgt spid="62"/>
                                        </p:tgtEl>
                                        <p:attrNameLst>
                                          <p:attrName>ppt_x</p:attrName>
                                        </p:attrNameLst>
                                      </p:cBhvr>
                                      <p:tavLst>
                                        <p:tav tm="0">
                                          <p:val>
                                            <p:strVal val="#ppt_x"/>
                                          </p:val>
                                        </p:tav>
                                        <p:tav tm="100000">
                                          <p:val>
                                            <p:strVal val="#ppt_x"/>
                                          </p:val>
                                        </p:tav>
                                      </p:tavLst>
                                    </p:anim>
                                    <p:anim calcmode="lin" valueType="num">
                                      <p:cBhvr additive="base">
                                        <p:cTn id="60" dur="1000" fill="hold"/>
                                        <p:tgtEl>
                                          <p:spTgt spid="62"/>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2000"/>
                                  </p:stCondLst>
                                  <p:childTnLst>
                                    <p:set>
                                      <p:cBhvr>
                                        <p:cTn id="62" dur="1" fill="hold">
                                          <p:stCondLst>
                                            <p:cond delay="0"/>
                                          </p:stCondLst>
                                        </p:cTn>
                                        <p:tgtEl>
                                          <p:spTgt spid="56"/>
                                        </p:tgtEl>
                                        <p:attrNameLst>
                                          <p:attrName>style.visibility</p:attrName>
                                        </p:attrNameLst>
                                      </p:cBhvr>
                                      <p:to>
                                        <p:strVal val="visible"/>
                                      </p:to>
                                    </p:set>
                                    <p:anim calcmode="lin" valueType="num">
                                      <p:cBhvr additive="base">
                                        <p:cTn id="63" dur="1000" fill="hold"/>
                                        <p:tgtEl>
                                          <p:spTgt spid="56"/>
                                        </p:tgtEl>
                                        <p:attrNameLst>
                                          <p:attrName>ppt_x</p:attrName>
                                        </p:attrNameLst>
                                      </p:cBhvr>
                                      <p:tavLst>
                                        <p:tav tm="0">
                                          <p:val>
                                            <p:strVal val="#ppt_x"/>
                                          </p:val>
                                        </p:tav>
                                        <p:tav tm="100000">
                                          <p:val>
                                            <p:strVal val="#ppt_x"/>
                                          </p:val>
                                        </p:tav>
                                      </p:tavLst>
                                    </p:anim>
                                    <p:anim calcmode="lin" valueType="num">
                                      <p:cBhvr additive="base">
                                        <p:cTn id="64" dur="1000" fill="hold"/>
                                        <p:tgtEl>
                                          <p:spTgt spid="56"/>
                                        </p:tgtEl>
                                        <p:attrNameLst>
                                          <p:attrName>ppt_y</p:attrName>
                                        </p:attrNameLst>
                                      </p:cBhvr>
                                      <p:tavLst>
                                        <p:tav tm="0">
                                          <p:val>
                                            <p:strVal val="1+#ppt_h/2"/>
                                          </p:val>
                                        </p:tav>
                                        <p:tav tm="100000">
                                          <p:val>
                                            <p:strVal val="#ppt_y"/>
                                          </p:val>
                                        </p:tav>
                                      </p:tavLst>
                                    </p:anim>
                                  </p:childTnLst>
                                </p:cTn>
                              </p:par>
                            </p:childTnLst>
                          </p:cTn>
                        </p:par>
                        <p:par>
                          <p:cTn id="65" fill="hold">
                            <p:stCondLst>
                              <p:cond delay="4000"/>
                            </p:stCondLst>
                            <p:childTnLst>
                              <p:par>
                                <p:cTn id="66" presetID="42" presetClass="entr" presetSubtype="0" fill="hold" grpId="0" nodeType="afterEffect">
                                  <p:stCondLst>
                                    <p:cond delay="2000"/>
                                  </p:stCondLst>
                                  <p:childTnLst>
                                    <p:set>
                                      <p:cBhvr>
                                        <p:cTn id="67" dur="1" fill="hold">
                                          <p:stCondLst>
                                            <p:cond delay="0"/>
                                          </p:stCondLst>
                                        </p:cTn>
                                        <p:tgtEl>
                                          <p:spTgt spid="91"/>
                                        </p:tgtEl>
                                        <p:attrNameLst>
                                          <p:attrName>style.visibility</p:attrName>
                                        </p:attrNameLst>
                                      </p:cBhvr>
                                      <p:to>
                                        <p:strVal val="visible"/>
                                      </p:to>
                                    </p:set>
                                    <p:animEffect transition="in" filter="fade">
                                      <p:cBhvr>
                                        <p:cTn id="68" dur="1000"/>
                                        <p:tgtEl>
                                          <p:spTgt spid="91"/>
                                        </p:tgtEl>
                                      </p:cBhvr>
                                    </p:animEffect>
                                    <p:anim calcmode="lin" valueType="num">
                                      <p:cBhvr>
                                        <p:cTn id="69" dur="1000" fill="hold"/>
                                        <p:tgtEl>
                                          <p:spTgt spid="91"/>
                                        </p:tgtEl>
                                        <p:attrNameLst>
                                          <p:attrName>ppt_x</p:attrName>
                                        </p:attrNameLst>
                                      </p:cBhvr>
                                      <p:tavLst>
                                        <p:tav tm="0">
                                          <p:val>
                                            <p:strVal val="#ppt_x"/>
                                          </p:val>
                                        </p:tav>
                                        <p:tav tm="100000">
                                          <p:val>
                                            <p:strVal val="#ppt_x"/>
                                          </p:val>
                                        </p:tav>
                                      </p:tavLst>
                                    </p:anim>
                                    <p:anim calcmode="lin" valueType="num">
                                      <p:cBhvr>
                                        <p:cTn id="70" dur="1000" fill="hold"/>
                                        <p:tgtEl>
                                          <p:spTgt spid="91"/>
                                        </p:tgtEl>
                                        <p:attrNameLst>
                                          <p:attrName>ppt_y</p:attrName>
                                        </p:attrNameLst>
                                      </p:cBhvr>
                                      <p:tavLst>
                                        <p:tav tm="0">
                                          <p:val>
                                            <p:strVal val="#ppt_y+.1"/>
                                          </p:val>
                                        </p:tav>
                                        <p:tav tm="100000">
                                          <p:val>
                                            <p:strVal val="#ppt_y"/>
                                          </p:val>
                                        </p:tav>
                                      </p:tavLst>
                                    </p:anim>
                                  </p:childTnLst>
                                </p:cTn>
                              </p:par>
                              <p:par>
                                <p:cTn id="71" presetID="42" presetClass="entr" presetSubtype="0" fill="hold" grpId="0" nodeType="withEffect">
                                  <p:stCondLst>
                                    <p:cond delay="2000"/>
                                  </p:stCondLst>
                                  <p:childTnLst>
                                    <p:set>
                                      <p:cBhvr>
                                        <p:cTn id="72" dur="1" fill="hold">
                                          <p:stCondLst>
                                            <p:cond delay="0"/>
                                          </p:stCondLst>
                                        </p:cTn>
                                        <p:tgtEl>
                                          <p:spTgt spid="85"/>
                                        </p:tgtEl>
                                        <p:attrNameLst>
                                          <p:attrName>style.visibility</p:attrName>
                                        </p:attrNameLst>
                                      </p:cBhvr>
                                      <p:to>
                                        <p:strVal val="visible"/>
                                      </p:to>
                                    </p:set>
                                    <p:animEffect transition="in" filter="fade">
                                      <p:cBhvr>
                                        <p:cTn id="73" dur="1000"/>
                                        <p:tgtEl>
                                          <p:spTgt spid="85"/>
                                        </p:tgtEl>
                                      </p:cBhvr>
                                    </p:animEffect>
                                    <p:anim calcmode="lin" valueType="num">
                                      <p:cBhvr>
                                        <p:cTn id="74" dur="1000" fill="hold"/>
                                        <p:tgtEl>
                                          <p:spTgt spid="85"/>
                                        </p:tgtEl>
                                        <p:attrNameLst>
                                          <p:attrName>ppt_x</p:attrName>
                                        </p:attrNameLst>
                                      </p:cBhvr>
                                      <p:tavLst>
                                        <p:tav tm="0">
                                          <p:val>
                                            <p:strVal val="#ppt_x"/>
                                          </p:val>
                                        </p:tav>
                                        <p:tav tm="100000">
                                          <p:val>
                                            <p:strVal val="#ppt_x"/>
                                          </p:val>
                                        </p:tav>
                                      </p:tavLst>
                                    </p:anim>
                                    <p:anim calcmode="lin" valueType="num">
                                      <p:cBhvr>
                                        <p:cTn id="75" dur="1000" fill="hold"/>
                                        <p:tgtEl>
                                          <p:spTgt spid="85"/>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2000"/>
                                  </p:stCondLst>
                                  <p:childTnLst>
                                    <p:set>
                                      <p:cBhvr>
                                        <p:cTn id="77" dur="1" fill="hold">
                                          <p:stCondLst>
                                            <p:cond delay="0"/>
                                          </p:stCondLst>
                                        </p:cTn>
                                        <p:tgtEl>
                                          <p:spTgt spid="86"/>
                                        </p:tgtEl>
                                        <p:attrNameLst>
                                          <p:attrName>style.visibility</p:attrName>
                                        </p:attrNameLst>
                                      </p:cBhvr>
                                      <p:to>
                                        <p:strVal val="visible"/>
                                      </p:to>
                                    </p:set>
                                    <p:animEffect transition="in" filter="fade">
                                      <p:cBhvr>
                                        <p:cTn id="78" dur="1000"/>
                                        <p:tgtEl>
                                          <p:spTgt spid="86"/>
                                        </p:tgtEl>
                                      </p:cBhvr>
                                    </p:animEffect>
                                    <p:anim calcmode="lin" valueType="num">
                                      <p:cBhvr>
                                        <p:cTn id="79" dur="1000" fill="hold"/>
                                        <p:tgtEl>
                                          <p:spTgt spid="86"/>
                                        </p:tgtEl>
                                        <p:attrNameLst>
                                          <p:attrName>ppt_x</p:attrName>
                                        </p:attrNameLst>
                                      </p:cBhvr>
                                      <p:tavLst>
                                        <p:tav tm="0">
                                          <p:val>
                                            <p:strVal val="#ppt_x"/>
                                          </p:val>
                                        </p:tav>
                                        <p:tav tm="100000">
                                          <p:val>
                                            <p:strVal val="#ppt_x"/>
                                          </p:val>
                                        </p:tav>
                                      </p:tavLst>
                                    </p:anim>
                                    <p:anim calcmode="lin" valueType="num">
                                      <p:cBhvr>
                                        <p:cTn id="80" dur="1000" fill="hold"/>
                                        <p:tgtEl>
                                          <p:spTgt spid="8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4" grpId="0"/>
      <p:bldP spid="55" grpId="0"/>
      <p:bldP spid="56" grpId="0"/>
      <p:bldP spid="57" grpId="0" animBg="1"/>
      <p:bldP spid="58" grpId="0" animBg="1"/>
      <p:bldP spid="59" grpId="0" animBg="1"/>
      <p:bldP spid="60" grpId="0" animBg="1"/>
      <p:bldP spid="61" grpId="0" animBg="1"/>
      <p:bldP spid="85" grpId="0" animBg="1"/>
      <p:bldP spid="9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solidFill>
            <a:schemeClr val="tx1">
              <a:lumMod val="75000"/>
              <a:lumOff val="25000"/>
            </a:schemeClr>
          </a:solidFill>
        </p:spPr>
      </p:sp>
      <p:sp>
        <p:nvSpPr>
          <p:cNvPr id="28" name="Slide Number Placeholder 27"/>
          <p:cNvSpPr>
            <a:spLocks noGrp="1"/>
          </p:cNvSpPr>
          <p:nvPr>
            <p:ph type="sldNum" sz="quarter" idx="12"/>
          </p:nvPr>
        </p:nvSpPr>
        <p:spPr/>
        <p:txBody>
          <a:bodyPr/>
          <a:lstStyle/>
          <a:p>
            <a:fld id="{32ECD629-4DA5-4EAE-B174-69948CAAE2CE}" type="slidenum">
              <a:rPr lang="en-US" smtClean="0"/>
              <a:t>5</a:t>
            </a:fld>
            <a:endParaRPr lang="en-US"/>
          </a:p>
        </p:txBody>
      </p:sp>
      <p:sp>
        <p:nvSpPr>
          <p:cNvPr id="10" name="Rectangle 9"/>
          <p:cNvSpPr/>
          <p:nvPr/>
        </p:nvSpPr>
        <p:spPr>
          <a:xfrm>
            <a:off x="1275405" y="2210647"/>
            <a:ext cx="4201818" cy="2234353"/>
          </a:xfrm>
          <a:prstGeom prst="rect">
            <a:avLst/>
          </a:prstGeom>
          <a:solidFill>
            <a:schemeClr val="accent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3" name="Rectangle 12"/>
          <p:cNvSpPr/>
          <p:nvPr/>
        </p:nvSpPr>
        <p:spPr>
          <a:xfrm>
            <a:off x="4655122" y="4829044"/>
            <a:ext cx="2881756" cy="646331"/>
          </a:xfrm>
          <a:prstGeom prst="rect">
            <a:avLst/>
          </a:prstGeom>
        </p:spPr>
        <p:txBody>
          <a:bodyPr wrap="square">
            <a:spAutoFit/>
          </a:bodyPr>
          <a:lstStyle/>
          <a:p>
            <a:pPr algn="ctr" rtl="1">
              <a:buClr>
                <a:srgbClr val="E24848"/>
              </a:buClr>
              <a:defRPr/>
            </a:pPr>
            <a:r>
              <a:rPr lang="fa-IR" sz="1200" noProof="1" smtClean="0">
                <a:solidFill>
                  <a:schemeClr val="bg1"/>
                </a:solidFill>
                <a:latin typeface="+mj-lt"/>
                <a:ea typeface="Open Sans Light" panose="020B0306030504020204" pitchFamily="34" charset="0"/>
                <a:cs typeface="B Nazanin" panose="00000400000000000000" pitchFamily="2" charset="-78"/>
              </a:rPr>
              <a:t>در روش های جدید که بر اساس یادگیری ماشین هستند برخی از رفتار های کاربر را بر اساس رفتار های او در شبکه های اجتماعی پیشبینی می کنند</a:t>
            </a:r>
            <a:endParaRPr lang="en-US" sz="1200" noProof="1">
              <a:solidFill>
                <a:schemeClr val="bg1"/>
              </a:solidFill>
              <a:latin typeface="+mj-lt"/>
              <a:ea typeface="Open Sans Light" panose="020B0306030504020204" pitchFamily="34" charset="0"/>
              <a:cs typeface="B Nazanin" panose="00000400000000000000" pitchFamily="2" charset="-78"/>
            </a:endParaRPr>
          </a:p>
        </p:txBody>
      </p:sp>
      <p:sp>
        <p:nvSpPr>
          <p:cNvPr id="33" name="Text Placeholder 2"/>
          <p:cNvSpPr txBox="1">
            <a:spLocks/>
          </p:cNvSpPr>
          <p:nvPr/>
        </p:nvSpPr>
        <p:spPr>
          <a:xfrm>
            <a:off x="2357672" y="2259912"/>
            <a:ext cx="2037284" cy="507136"/>
          </a:xfrm>
          <a:prstGeom prst="rect">
            <a:avLst/>
          </a:prstGeom>
        </p:spPr>
        <p:txBody>
          <a:bodyPr vert="horz" lIns="91440" tIns="45720" rIns="91440" bIns="45720" rtlCol="0" anchor="ctr">
            <a:normAutofit fontScale="92500"/>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a-IR" sz="2400" b="1" dirty="0" smtClean="0">
                <a:solidFill>
                  <a:schemeClr val="bg1"/>
                </a:solidFill>
                <a:latin typeface="Open Sans" panose="020B0606030504020204" pitchFamily="34" charset="0"/>
                <a:ea typeface="Open Sans" panose="020B0606030504020204" pitchFamily="34" charset="0"/>
                <a:cs typeface="B Titr" panose="00000700000000000000" pitchFamily="2" charset="-78"/>
              </a:rPr>
              <a:t>تشخیص ناهنجاری</a:t>
            </a:r>
            <a:endParaRPr lang="id-ID" sz="2400" b="1" dirty="0">
              <a:solidFill>
                <a:schemeClr val="bg1"/>
              </a:solidFill>
              <a:latin typeface="Open Sans" panose="020B0606030504020204" pitchFamily="34" charset="0"/>
              <a:ea typeface="Open Sans" panose="020B0606030504020204" pitchFamily="34" charset="0"/>
              <a:cs typeface="B Titr" panose="00000700000000000000" pitchFamily="2" charset="-78"/>
            </a:endParaRPr>
          </a:p>
        </p:txBody>
      </p:sp>
      <p:sp>
        <p:nvSpPr>
          <p:cNvPr id="36" name="Rectangle 35"/>
          <p:cNvSpPr/>
          <p:nvPr/>
        </p:nvSpPr>
        <p:spPr>
          <a:xfrm>
            <a:off x="6701007" y="2210647"/>
            <a:ext cx="4201818" cy="2234353"/>
          </a:xfrm>
          <a:prstGeom prst="rect">
            <a:avLst/>
          </a:prstGeom>
          <a:solidFill>
            <a:schemeClr val="accent2">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8" name="Text Placeholder 2"/>
          <p:cNvSpPr txBox="1">
            <a:spLocks/>
          </p:cNvSpPr>
          <p:nvPr/>
        </p:nvSpPr>
        <p:spPr>
          <a:xfrm>
            <a:off x="7658225" y="2286249"/>
            <a:ext cx="2287382" cy="507136"/>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a-IR" sz="2200" b="1" dirty="0" smtClean="0">
                <a:solidFill>
                  <a:schemeClr val="bg1"/>
                </a:solidFill>
                <a:latin typeface="Open Sans" panose="020B0606030504020204" pitchFamily="34" charset="0"/>
                <a:ea typeface="Open Sans" panose="020B0606030504020204" pitchFamily="34" charset="0"/>
                <a:cs typeface="B Titr" panose="00000700000000000000" pitchFamily="2" charset="-78"/>
              </a:rPr>
              <a:t>تشخیص سوء استفاده</a:t>
            </a:r>
            <a:endParaRPr lang="id-ID" sz="2200" b="1" dirty="0">
              <a:solidFill>
                <a:schemeClr val="bg1"/>
              </a:solidFill>
              <a:latin typeface="Open Sans" panose="020B0606030504020204" pitchFamily="34" charset="0"/>
              <a:ea typeface="Open Sans" panose="020B0606030504020204" pitchFamily="34" charset="0"/>
              <a:cs typeface="B Titr" panose="00000700000000000000" pitchFamily="2" charset="-78"/>
            </a:endParaRPr>
          </a:p>
        </p:txBody>
      </p:sp>
      <p:sp>
        <p:nvSpPr>
          <p:cNvPr id="40" name="Rectangle 39"/>
          <p:cNvSpPr/>
          <p:nvPr/>
        </p:nvSpPr>
        <p:spPr>
          <a:xfrm>
            <a:off x="7129689" y="3104347"/>
            <a:ext cx="3528314" cy="830997"/>
          </a:xfrm>
          <a:prstGeom prst="rect">
            <a:avLst/>
          </a:prstGeom>
        </p:spPr>
        <p:txBody>
          <a:bodyPr wrap="square">
            <a:spAutoFit/>
          </a:bodyPr>
          <a:lstStyle/>
          <a:p>
            <a:pPr algn="just" rtl="1">
              <a:buClr>
                <a:srgbClr val="E24848"/>
              </a:buClr>
              <a:defRPr/>
            </a:pPr>
            <a:r>
              <a:rPr lang="fa-IR" sz="1200" noProof="1" smtClean="0">
                <a:solidFill>
                  <a:schemeClr val="bg1"/>
                </a:solidFill>
                <a:latin typeface="+mj-lt"/>
                <a:ea typeface="Open Sans Light" panose="020B0306030504020204" pitchFamily="34" charset="0"/>
                <a:cs typeface="B Nazanin" panose="00000400000000000000" pitchFamily="2" charset="-78"/>
              </a:rPr>
              <a:t>این سیستم ها براساس تراکنش هایی که در آن کلاهبرداری شده است آموزش داده می شوند و لذا تنها می توانند انواعی از کلاهبرداری هایی که تا کنون انجام شده است را شناسایی کنند. </a:t>
            </a:r>
          </a:p>
          <a:p>
            <a:pPr algn="just" rtl="1">
              <a:buClr>
                <a:srgbClr val="E24848"/>
              </a:buClr>
              <a:defRPr/>
            </a:pPr>
            <a:r>
              <a:rPr lang="fa-IR" sz="1200" noProof="1" smtClean="0">
                <a:solidFill>
                  <a:schemeClr val="bg1"/>
                </a:solidFill>
                <a:latin typeface="+mj-lt"/>
                <a:ea typeface="Open Sans Light" panose="020B0306030504020204" pitchFamily="34" charset="0"/>
                <a:cs typeface="B Nazanin" panose="00000400000000000000" pitchFamily="2" charset="-78"/>
              </a:rPr>
              <a:t>این روش ها معمولا بصورت آنلاین بر روی تراکنش ها نظارت می کنند.</a:t>
            </a:r>
            <a:endParaRPr lang="en-US" sz="1200" noProof="1">
              <a:solidFill>
                <a:schemeClr val="bg1"/>
              </a:solidFill>
              <a:latin typeface="+mj-lt"/>
              <a:ea typeface="Open Sans Light" panose="020B0306030504020204" pitchFamily="34" charset="0"/>
              <a:cs typeface="B Nazanin" panose="00000400000000000000" pitchFamily="2" charset="-78"/>
            </a:endParaRPr>
          </a:p>
        </p:txBody>
      </p:sp>
      <p:sp>
        <p:nvSpPr>
          <p:cNvPr id="23" name="Title 1"/>
          <p:cNvSpPr txBox="1">
            <a:spLocks/>
          </p:cNvSpPr>
          <p:nvPr/>
        </p:nvSpPr>
        <p:spPr>
          <a:xfrm>
            <a:off x="3009075" y="649179"/>
            <a:ext cx="6173851" cy="1100373"/>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fa-IR" sz="4000" b="1" dirty="0" smtClean="0">
                <a:solidFill>
                  <a:schemeClr val="bg1"/>
                </a:solidFill>
                <a:latin typeface="Ostrich Sans Medium" panose="02000508000000020004" pitchFamily="50" charset="0"/>
                <a:ea typeface="Open Sans" panose="020B0606030504020204" pitchFamily="34" charset="0"/>
                <a:cs typeface="B Titr" panose="00000700000000000000" pitchFamily="2" charset="-78"/>
              </a:rPr>
              <a:t>روش های تشخیص کلاهبرداری پرداخت اعتباری</a:t>
            </a:r>
            <a:endParaRPr lang="en-US" sz="4000" dirty="0">
              <a:solidFill>
                <a:schemeClr val="bg1"/>
              </a:solidFill>
              <a:latin typeface="Ostrich Sans Medium" panose="02000508000000020004" pitchFamily="50" charset="0"/>
              <a:ea typeface="Open Sans" panose="020B0606030504020204" pitchFamily="34" charset="0"/>
              <a:cs typeface="B Titr" panose="00000700000000000000" pitchFamily="2" charset="-78"/>
            </a:endParaRPr>
          </a:p>
        </p:txBody>
      </p:sp>
      <p:sp>
        <p:nvSpPr>
          <p:cNvPr id="25" name="Rectangle 24"/>
          <p:cNvSpPr/>
          <p:nvPr/>
        </p:nvSpPr>
        <p:spPr>
          <a:xfrm>
            <a:off x="1570137" y="3104347"/>
            <a:ext cx="3528314" cy="646331"/>
          </a:xfrm>
          <a:prstGeom prst="rect">
            <a:avLst/>
          </a:prstGeom>
        </p:spPr>
        <p:txBody>
          <a:bodyPr wrap="square">
            <a:spAutoFit/>
          </a:bodyPr>
          <a:lstStyle/>
          <a:p>
            <a:pPr algn="just" rtl="1">
              <a:buClr>
                <a:srgbClr val="E24848"/>
              </a:buClr>
              <a:defRPr/>
            </a:pPr>
            <a:r>
              <a:rPr lang="fa-IR" sz="1200" noProof="1" smtClean="0">
                <a:solidFill>
                  <a:schemeClr val="bg1"/>
                </a:solidFill>
                <a:latin typeface="+mj-lt"/>
                <a:ea typeface="Open Sans Light" panose="020B0306030504020204" pitchFamily="34" charset="0"/>
                <a:cs typeface="B Nazanin" panose="00000400000000000000" pitchFamily="2" charset="-78"/>
              </a:rPr>
              <a:t>این سیستم ها تنها براساس تراکنش های نرمال و معمولی آموزش داده می شوند و لذا می توانند انواع جدید از کلاهبرداری را نیز تشخیص دهند.</a:t>
            </a:r>
          </a:p>
          <a:p>
            <a:pPr algn="just" rtl="1">
              <a:buClr>
                <a:srgbClr val="E24848"/>
              </a:buClr>
              <a:defRPr/>
            </a:pPr>
            <a:r>
              <a:rPr lang="fa-IR" sz="1200" noProof="1" smtClean="0">
                <a:solidFill>
                  <a:schemeClr val="bg1"/>
                </a:solidFill>
                <a:latin typeface="+mj-lt"/>
                <a:ea typeface="Open Sans Light" panose="020B0306030504020204" pitchFamily="34" charset="0"/>
                <a:cs typeface="B Nazanin" panose="00000400000000000000" pitchFamily="2" charset="-78"/>
              </a:rPr>
              <a:t>این روش ها بصورت آنلاین و آفلاین بر روی تراکنش ها نظارت می کنند.</a:t>
            </a:r>
            <a:endParaRPr lang="en-US" sz="1200" noProof="1">
              <a:solidFill>
                <a:schemeClr val="bg1"/>
              </a:solidFill>
              <a:latin typeface="+mj-lt"/>
              <a:ea typeface="Open Sans Light" panose="020B0306030504020204" pitchFamily="34" charset="0"/>
              <a:cs typeface="B Nazanin" panose="00000400000000000000" pitchFamily="2" charset="-78"/>
            </a:endParaRPr>
          </a:p>
        </p:txBody>
      </p:sp>
      <p:sp>
        <p:nvSpPr>
          <p:cNvPr id="26" name="Rectangle 25"/>
          <p:cNvSpPr/>
          <p:nvPr/>
        </p:nvSpPr>
        <p:spPr>
          <a:xfrm>
            <a:off x="10040112" y="6358128"/>
            <a:ext cx="1944624" cy="481584"/>
          </a:xfrm>
          <a:prstGeom prst="rect">
            <a:avLst/>
          </a:prstGeom>
          <a:solidFill>
            <a:srgbClr val="0E0F1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2246368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circle(in)">
                                      <p:cBhvr>
                                        <p:cTn id="7" dur="2000"/>
                                        <p:tgtEl>
                                          <p:spTgt spid="33"/>
                                        </p:tgtEl>
                                      </p:cBhvr>
                                    </p:animEffect>
                                  </p:childTnLst>
                                </p:cTn>
                              </p:par>
                            </p:childTnLst>
                          </p:cTn>
                        </p:par>
                        <p:par>
                          <p:cTn id="8" fill="hold">
                            <p:stCondLst>
                              <p:cond delay="2000"/>
                            </p:stCondLst>
                            <p:childTnLst>
                              <p:par>
                                <p:cTn id="9" presetID="6" presetClass="entr" presetSubtype="16" fill="hold" grpId="0" nodeType="afterEffect">
                                  <p:stCondLst>
                                    <p:cond delay="2000"/>
                                  </p:stCondLst>
                                  <p:childTnLst>
                                    <p:set>
                                      <p:cBhvr>
                                        <p:cTn id="10" dur="1" fill="hold">
                                          <p:stCondLst>
                                            <p:cond delay="0"/>
                                          </p:stCondLst>
                                        </p:cTn>
                                        <p:tgtEl>
                                          <p:spTgt spid="38"/>
                                        </p:tgtEl>
                                        <p:attrNameLst>
                                          <p:attrName>style.visibility</p:attrName>
                                        </p:attrNameLst>
                                      </p:cBhvr>
                                      <p:to>
                                        <p:strVal val="visible"/>
                                      </p:to>
                                    </p:set>
                                    <p:animEffect transition="in" filter="circle(in)">
                                      <p:cBhvr>
                                        <p:cTn id="11" dur="2000"/>
                                        <p:tgtEl>
                                          <p:spTgt spid="3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0"/>
                                        <p:tgtEl>
                                          <p:spTgt spid="2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0"/>
                                        </p:tgtEl>
                                        <p:attrNameLst>
                                          <p:attrName>style.visibility</p:attrName>
                                        </p:attrNameLst>
                                      </p:cBhvr>
                                      <p:to>
                                        <p:strVal val="visible"/>
                                      </p:to>
                                    </p:set>
                                    <p:animEffect transition="in" filter="fade">
                                      <p:cBhvr>
                                        <p:cTn id="21" dur="2000"/>
                                        <p:tgtEl>
                                          <p:spTgt spid="40"/>
                                        </p:tgtEl>
                                      </p:cBhvr>
                                    </p:animEffect>
                                  </p:childTnLst>
                                </p:cTn>
                              </p:par>
                            </p:childTnLst>
                          </p:cTn>
                        </p:par>
                      </p:childTnLst>
                    </p:cTn>
                  </p:par>
                  <p:par>
                    <p:cTn id="22" fill="hold">
                      <p:stCondLst>
                        <p:cond delay="indefinite"/>
                      </p:stCondLst>
                      <p:childTnLst>
                        <p:par>
                          <p:cTn id="23" fill="hold">
                            <p:stCondLst>
                              <p:cond delay="0"/>
                            </p:stCondLst>
                            <p:childTnLst>
                              <p:par>
                                <p:cTn id="24" presetID="32" presetClass="emph" presetSubtype="0" fill="hold" grpId="1" nodeType="clickEffect">
                                  <p:stCondLst>
                                    <p:cond delay="0"/>
                                  </p:stCondLst>
                                  <p:childTnLst>
                                    <p:animRot by="120000">
                                      <p:cBhvr>
                                        <p:cTn id="25" dur="200" fill="hold">
                                          <p:stCondLst>
                                            <p:cond delay="0"/>
                                          </p:stCondLst>
                                        </p:cTn>
                                        <p:tgtEl>
                                          <p:spTgt spid="33"/>
                                        </p:tgtEl>
                                        <p:attrNameLst>
                                          <p:attrName>r</p:attrName>
                                        </p:attrNameLst>
                                      </p:cBhvr>
                                    </p:animRot>
                                    <p:animRot by="-240000">
                                      <p:cBhvr>
                                        <p:cTn id="26" dur="400" fill="hold">
                                          <p:stCondLst>
                                            <p:cond delay="400"/>
                                          </p:stCondLst>
                                        </p:cTn>
                                        <p:tgtEl>
                                          <p:spTgt spid="33"/>
                                        </p:tgtEl>
                                        <p:attrNameLst>
                                          <p:attrName>r</p:attrName>
                                        </p:attrNameLst>
                                      </p:cBhvr>
                                    </p:animRot>
                                    <p:animRot by="240000">
                                      <p:cBhvr>
                                        <p:cTn id="27" dur="400" fill="hold">
                                          <p:stCondLst>
                                            <p:cond delay="800"/>
                                          </p:stCondLst>
                                        </p:cTn>
                                        <p:tgtEl>
                                          <p:spTgt spid="33"/>
                                        </p:tgtEl>
                                        <p:attrNameLst>
                                          <p:attrName>r</p:attrName>
                                        </p:attrNameLst>
                                      </p:cBhvr>
                                    </p:animRot>
                                    <p:animRot by="-240000">
                                      <p:cBhvr>
                                        <p:cTn id="28" dur="400" fill="hold">
                                          <p:stCondLst>
                                            <p:cond delay="1200"/>
                                          </p:stCondLst>
                                        </p:cTn>
                                        <p:tgtEl>
                                          <p:spTgt spid="33"/>
                                        </p:tgtEl>
                                        <p:attrNameLst>
                                          <p:attrName>r</p:attrName>
                                        </p:attrNameLst>
                                      </p:cBhvr>
                                    </p:animRot>
                                    <p:animRot by="120000">
                                      <p:cBhvr>
                                        <p:cTn id="29" dur="400" fill="hold">
                                          <p:stCondLst>
                                            <p:cond delay="1600"/>
                                          </p:stCondLst>
                                        </p:cTn>
                                        <p:tgtEl>
                                          <p:spTgt spid="33"/>
                                        </p:tgtEl>
                                        <p:attrNameLst>
                                          <p:attrName>r</p:attrName>
                                        </p:attrNameLst>
                                      </p:cBhvr>
                                    </p:animRot>
                                  </p:childTnLst>
                                </p:cTn>
                              </p:par>
                              <p:par>
                                <p:cTn id="30" presetID="32" presetClass="emph" presetSubtype="0" fill="hold" grpId="1" nodeType="withEffect">
                                  <p:stCondLst>
                                    <p:cond delay="0"/>
                                  </p:stCondLst>
                                  <p:childTnLst>
                                    <p:animRot by="120000">
                                      <p:cBhvr>
                                        <p:cTn id="31" dur="200" fill="hold">
                                          <p:stCondLst>
                                            <p:cond delay="0"/>
                                          </p:stCondLst>
                                        </p:cTn>
                                        <p:tgtEl>
                                          <p:spTgt spid="25"/>
                                        </p:tgtEl>
                                        <p:attrNameLst>
                                          <p:attrName>r</p:attrName>
                                        </p:attrNameLst>
                                      </p:cBhvr>
                                    </p:animRot>
                                    <p:animRot by="-240000">
                                      <p:cBhvr>
                                        <p:cTn id="32" dur="400" fill="hold">
                                          <p:stCondLst>
                                            <p:cond delay="400"/>
                                          </p:stCondLst>
                                        </p:cTn>
                                        <p:tgtEl>
                                          <p:spTgt spid="25"/>
                                        </p:tgtEl>
                                        <p:attrNameLst>
                                          <p:attrName>r</p:attrName>
                                        </p:attrNameLst>
                                      </p:cBhvr>
                                    </p:animRot>
                                    <p:animRot by="240000">
                                      <p:cBhvr>
                                        <p:cTn id="33" dur="400" fill="hold">
                                          <p:stCondLst>
                                            <p:cond delay="800"/>
                                          </p:stCondLst>
                                        </p:cTn>
                                        <p:tgtEl>
                                          <p:spTgt spid="25"/>
                                        </p:tgtEl>
                                        <p:attrNameLst>
                                          <p:attrName>r</p:attrName>
                                        </p:attrNameLst>
                                      </p:cBhvr>
                                    </p:animRot>
                                    <p:animRot by="-240000">
                                      <p:cBhvr>
                                        <p:cTn id="34" dur="400" fill="hold">
                                          <p:stCondLst>
                                            <p:cond delay="1200"/>
                                          </p:stCondLst>
                                        </p:cTn>
                                        <p:tgtEl>
                                          <p:spTgt spid="25"/>
                                        </p:tgtEl>
                                        <p:attrNameLst>
                                          <p:attrName>r</p:attrName>
                                        </p:attrNameLst>
                                      </p:cBhvr>
                                    </p:animRot>
                                    <p:animRot by="120000">
                                      <p:cBhvr>
                                        <p:cTn id="35" dur="400" fill="hold">
                                          <p:stCondLst>
                                            <p:cond delay="1600"/>
                                          </p:stCondLst>
                                        </p:cTn>
                                        <p:tgtEl>
                                          <p:spTgt spid="25"/>
                                        </p:tgtEl>
                                        <p:attrNameLst>
                                          <p:attrName>r</p:attrName>
                                        </p:attrNameLst>
                                      </p:cBhvr>
                                    </p:animRot>
                                  </p:childTnLst>
                                </p:cTn>
                              </p:par>
                              <p:par>
                                <p:cTn id="36" presetID="32" presetClass="emph" presetSubtype="0" fill="hold" grpId="0" nodeType="withEffect">
                                  <p:stCondLst>
                                    <p:cond delay="0"/>
                                  </p:stCondLst>
                                  <p:childTnLst>
                                    <p:animRot by="120000">
                                      <p:cBhvr>
                                        <p:cTn id="37" dur="200" fill="hold">
                                          <p:stCondLst>
                                            <p:cond delay="0"/>
                                          </p:stCondLst>
                                        </p:cTn>
                                        <p:tgtEl>
                                          <p:spTgt spid="10"/>
                                        </p:tgtEl>
                                        <p:attrNameLst>
                                          <p:attrName>r</p:attrName>
                                        </p:attrNameLst>
                                      </p:cBhvr>
                                    </p:animRot>
                                    <p:animRot by="-240000">
                                      <p:cBhvr>
                                        <p:cTn id="38" dur="400" fill="hold">
                                          <p:stCondLst>
                                            <p:cond delay="400"/>
                                          </p:stCondLst>
                                        </p:cTn>
                                        <p:tgtEl>
                                          <p:spTgt spid="10"/>
                                        </p:tgtEl>
                                        <p:attrNameLst>
                                          <p:attrName>r</p:attrName>
                                        </p:attrNameLst>
                                      </p:cBhvr>
                                    </p:animRot>
                                    <p:animRot by="240000">
                                      <p:cBhvr>
                                        <p:cTn id="39" dur="400" fill="hold">
                                          <p:stCondLst>
                                            <p:cond delay="800"/>
                                          </p:stCondLst>
                                        </p:cTn>
                                        <p:tgtEl>
                                          <p:spTgt spid="10"/>
                                        </p:tgtEl>
                                        <p:attrNameLst>
                                          <p:attrName>r</p:attrName>
                                        </p:attrNameLst>
                                      </p:cBhvr>
                                    </p:animRot>
                                    <p:animRot by="-240000">
                                      <p:cBhvr>
                                        <p:cTn id="40" dur="400" fill="hold">
                                          <p:stCondLst>
                                            <p:cond delay="1200"/>
                                          </p:stCondLst>
                                        </p:cTn>
                                        <p:tgtEl>
                                          <p:spTgt spid="10"/>
                                        </p:tgtEl>
                                        <p:attrNameLst>
                                          <p:attrName>r</p:attrName>
                                        </p:attrNameLst>
                                      </p:cBhvr>
                                    </p:animRot>
                                    <p:animRot by="120000">
                                      <p:cBhvr>
                                        <p:cTn id="41" dur="400" fill="hold">
                                          <p:stCondLst>
                                            <p:cond delay="1600"/>
                                          </p:stCondLst>
                                        </p:cTn>
                                        <p:tgtEl>
                                          <p:spTgt spid="10"/>
                                        </p:tgtEl>
                                        <p:attrNameLst>
                                          <p:attrName>r</p:attrName>
                                        </p:attrNameLst>
                                      </p:cBhvr>
                                    </p:animRot>
                                  </p:childTnLst>
                                </p:cTn>
                              </p:par>
                            </p:childTnLst>
                          </p:cTn>
                        </p:par>
                      </p:childTnLst>
                    </p:cTn>
                  </p:par>
                  <p:par>
                    <p:cTn id="42" fill="hold">
                      <p:stCondLst>
                        <p:cond delay="indefinite"/>
                      </p:stCondLst>
                      <p:childTnLst>
                        <p:par>
                          <p:cTn id="43" fill="hold">
                            <p:stCondLst>
                              <p:cond delay="0"/>
                            </p:stCondLst>
                            <p:childTnLst>
                              <p:par>
                                <p:cTn id="44" presetID="21" presetClass="entr" presetSubtype="1" fill="hold" grpId="0" nodeType="clickEffect">
                                  <p:stCondLst>
                                    <p:cond delay="0"/>
                                  </p:stCondLst>
                                  <p:childTnLst>
                                    <p:set>
                                      <p:cBhvr>
                                        <p:cTn id="45" dur="1" fill="hold">
                                          <p:stCondLst>
                                            <p:cond delay="0"/>
                                          </p:stCondLst>
                                        </p:cTn>
                                        <p:tgtEl>
                                          <p:spTgt spid="13"/>
                                        </p:tgtEl>
                                        <p:attrNameLst>
                                          <p:attrName>style.visibility</p:attrName>
                                        </p:attrNameLst>
                                      </p:cBhvr>
                                      <p:to>
                                        <p:strVal val="visible"/>
                                      </p:to>
                                    </p:set>
                                    <p:animEffect transition="in" filter="wheel(1)">
                                      <p:cBhvr>
                                        <p:cTn id="46"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p:bldP spid="33" grpId="0"/>
      <p:bldP spid="33" grpId="1"/>
      <p:bldP spid="38" grpId="0"/>
      <p:bldP spid="40" grpId="0"/>
      <p:bldP spid="25" grpId="0"/>
      <p:bldP spid="25"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tx1">
              <a:alpha val="76000"/>
            </a:schemeClr>
          </a:solidFill>
          <a:ln>
            <a:noFill/>
          </a:ln>
          <a:effectLst>
            <a:outerShdw blurRad="50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mj-lt"/>
              <a:ea typeface="Roboto Light" panose="02000000000000000000" pitchFamily="2" charset="0"/>
            </a:endParaRPr>
          </a:p>
        </p:txBody>
      </p:sp>
      <p:sp>
        <p:nvSpPr>
          <p:cNvPr id="6" name="Title 1"/>
          <p:cNvSpPr txBox="1">
            <a:spLocks/>
          </p:cNvSpPr>
          <p:nvPr/>
        </p:nvSpPr>
        <p:spPr>
          <a:xfrm>
            <a:off x="1796043" y="2438964"/>
            <a:ext cx="8599914" cy="1172009"/>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itchFamily="-109" charset="0"/>
                <a:sym typeface="Calibri" charset="0"/>
              </a:defRPr>
            </a:lvl1pPr>
            <a:lvl2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2pPr>
            <a:lvl3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3pPr>
            <a:lvl4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4pPr>
            <a:lvl5pPr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5pPr>
            <a:lvl6pPr marL="4572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6pPr>
            <a:lvl7pPr marL="9144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7pPr>
            <a:lvl8pPr marL="13716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8pPr>
            <a:lvl9pPr marL="1828800" algn="ctr" rtl="0" fontAlgn="base">
              <a:spcBef>
                <a:spcPct val="0"/>
              </a:spcBef>
              <a:spcAft>
                <a:spcPct val="0"/>
              </a:spcAft>
              <a:defRPr sz="4400">
                <a:solidFill>
                  <a:schemeClr val="tx1"/>
                </a:solidFill>
                <a:latin typeface="Calibri" charset="0"/>
                <a:ea typeface="ヒラギノ角ゴ ProN W3" charset="0"/>
                <a:cs typeface="ヒラギノ角ゴ ProN W3" charset="0"/>
                <a:sym typeface="Calibri" charset="0"/>
              </a:defRPr>
            </a:lvl9pPr>
          </a:lstStyle>
          <a:p>
            <a:r>
              <a:rPr lang="fa-IR" sz="6600" spc="-151" dirty="0" smtClean="0">
                <a:solidFill>
                  <a:schemeClr val="bg1"/>
                </a:solidFill>
                <a:latin typeface="Ostrich Sans Medium" panose="02000508000000020004" pitchFamily="50" charset="0"/>
                <a:ea typeface="Open Sans" panose="020B0606030504020204" pitchFamily="34" charset="0"/>
                <a:cs typeface="B Titr" panose="00000700000000000000" pitchFamily="2" charset="-78"/>
              </a:rPr>
              <a:t>سپاس از توجه شما</a:t>
            </a:r>
            <a:endParaRPr lang="en-US" sz="6600" spc="-151" dirty="0">
              <a:solidFill>
                <a:schemeClr val="bg1"/>
              </a:solidFill>
              <a:latin typeface="Ostrich Sans Medium" panose="02000508000000020004" pitchFamily="50" charset="0"/>
              <a:ea typeface="Open Sans" panose="020B0606030504020204" pitchFamily="34" charset="0"/>
              <a:cs typeface="B Titr" panose="00000700000000000000" pitchFamily="2" charset="-78"/>
            </a:endParaRPr>
          </a:p>
        </p:txBody>
      </p:sp>
      <p:grpSp>
        <p:nvGrpSpPr>
          <p:cNvPr id="10" name="Group 9"/>
          <p:cNvGrpSpPr/>
          <p:nvPr/>
        </p:nvGrpSpPr>
        <p:grpSpPr>
          <a:xfrm>
            <a:off x="2019300" y="4085408"/>
            <a:ext cx="8153400" cy="0"/>
            <a:chOff x="2019300" y="3714750"/>
            <a:chExt cx="8153400" cy="0"/>
          </a:xfrm>
        </p:grpSpPr>
        <p:cxnSp>
          <p:nvCxnSpPr>
            <p:cNvPr id="8" name="Straight Connector 7"/>
            <p:cNvCxnSpPr/>
            <p:nvPr/>
          </p:nvCxnSpPr>
          <p:spPr>
            <a:xfrm>
              <a:off x="2019300" y="3714750"/>
              <a:ext cx="318135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991350" y="3714750"/>
              <a:ext cx="318135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2019300" y="2038894"/>
            <a:ext cx="8153400" cy="0"/>
            <a:chOff x="2019300" y="3714750"/>
            <a:chExt cx="8153400" cy="0"/>
          </a:xfrm>
        </p:grpSpPr>
        <p:cxnSp>
          <p:nvCxnSpPr>
            <p:cNvPr id="16" name="Straight Connector 15"/>
            <p:cNvCxnSpPr/>
            <p:nvPr/>
          </p:nvCxnSpPr>
          <p:spPr>
            <a:xfrm>
              <a:off x="2019300" y="3714750"/>
              <a:ext cx="318135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991350" y="3714750"/>
              <a:ext cx="318135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56687013"/>
      </p:ext>
    </p:extLst>
  </p:cSld>
  <p:clrMapOvr>
    <a:masterClrMapping/>
  </p:clrMapOvr>
  <p:transition spd="slow">
    <p:push di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ylcPRezGECRIkVVF_Hj2g"/>
</p:tagLst>
</file>

<file path=ppt/theme/theme1.xml><?xml version="1.0" encoding="utf-8"?>
<a:theme xmlns:a="http://schemas.openxmlformats.org/drawingml/2006/main" name="Office Theme">
  <a:themeElements>
    <a:clrScheme name="Custom 37">
      <a:dk1>
        <a:sysClr val="windowText" lastClr="000000"/>
      </a:dk1>
      <a:lt1>
        <a:sysClr val="window" lastClr="FFFFFF"/>
      </a:lt1>
      <a:dk2>
        <a:srgbClr val="44546A"/>
      </a:dk2>
      <a:lt2>
        <a:srgbClr val="E7E6E6"/>
      </a:lt2>
      <a:accent1>
        <a:srgbClr val="FF4B21"/>
      </a:accent1>
      <a:accent2>
        <a:srgbClr val="5B9BD5"/>
      </a:accent2>
      <a:accent3>
        <a:srgbClr val="FF3300"/>
      </a:accent3>
      <a:accent4>
        <a:srgbClr val="262626"/>
      </a:accent4>
      <a:accent5>
        <a:srgbClr val="AEABAB"/>
      </a:accent5>
      <a:accent6>
        <a:srgbClr val="3A3838"/>
      </a:accent6>
      <a:hlink>
        <a:srgbClr val="5B9BD5"/>
      </a:hlink>
      <a:folHlink>
        <a:srgbClr val="70AD47"/>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89</TotalTime>
  <Words>403</Words>
  <Application>Microsoft Office PowerPoint</Application>
  <PresentationFormat>Widescreen</PresentationFormat>
  <Paragraphs>45</Paragraphs>
  <Slides>6</Slides>
  <Notes>4</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6</vt:i4>
      </vt:variant>
    </vt:vector>
  </HeadingPairs>
  <TitlesOfParts>
    <vt:vector size="19" baseType="lpstr">
      <vt:lpstr>Arial</vt:lpstr>
      <vt:lpstr>B Badr</vt:lpstr>
      <vt:lpstr>B Narm</vt:lpstr>
      <vt:lpstr>B Nazanin</vt:lpstr>
      <vt:lpstr>B Titr</vt:lpstr>
      <vt:lpstr>Calibri</vt:lpstr>
      <vt:lpstr>Calibri Light</vt:lpstr>
      <vt:lpstr>Lato Light</vt:lpstr>
      <vt:lpstr>Open Sans</vt:lpstr>
      <vt:lpstr>Open Sans Light</vt:lpstr>
      <vt:lpstr>Ostrich Sans Medium</vt:lpstr>
      <vt:lpstr>Roboto Light</vt:lpstr>
      <vt:lpstr>Office Theme</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ng island</dc:creator>
  <cp:lastModifiedBy>mohammad hosein moti</cp:lastModifiedBy>
  <cp:revision>514</cp:revision>
  <dcterms:created xsi:type="dcterms:W3CDTF">2015-10-12T07:46:28Z</dcterms:created>
  <dcterms:modified xsi:type="dcterms:W3CDTF">2019-06-07T17:20:37Z</dcterms:modified>
</cp:coreProperties>
</file>